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09" r:id="rId4"/>
  </p:sldMasterIdLst>
  <p:notesMasterIdLst>
    <p:notesMasterId r:id="rId6"/>
  </p:notesMasterIdLst>
  <p:handoutMasterIdLst>
    <p:handoutMasterId r:id="rId7"/>
  </p:handoutMasterIdLst>
  <p:sldIdLst>
    <p:sldId id="2946" r:id="rId5"/>
  </p:sldIdLst>
  <p:sldSz cx="7772400" cy="100584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8" pos="2448" userDrawn="1">
          <p15:clr>
            <a:srgbClr val="A4A3A4"/>
          </p15:clr>
        </p15:guide>
        <p15:guide id="62" orient="horz" pos="316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3366"/>
    <a:srgbClr val="C01933"/>
    <a:srgbClr val="7799CC"/>
    <a:srgbClr val="CACED3"/>
    <a:srgbClr val="F9AA15"/>
    <a:srgbClr val="17A0E7"/>
    <a:srgbClr val="002A50"/>
    <a:srgbClr val="000000"/>
    <a:srgbClr val="707070"/>
    <a:srgbClr val="02710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054" autoAdjust="0"/>
  </p:normalViewPr>
  <p:slideViewPr>
    <p:cSldViewPr snapToGrid="0" snapToObjects="1">
      <p:cViewPr varScale="1">
        <p:scale>
          <a:sx n="74" d="100"/>
          <a:sy n="74" d="100"/>
        </p:scale>
        <p:origin x="3018" y="66"/>
      </p:cViewPr>
      <p:guideLst>
        <p:guide pos="2448"/>
        <p:guide orient="horz" pos="3168"/>
      </p:guideLst>
    </p:cSldViewPr>
  </p:slideViewPr>
  <p:notesTextViewPr>
    <p:cViewPr>
      <p:scale>
        <a:sx n="20" d="100"/>
        <a:sy n="20" d="100"/>
      </p:scale>
      <p:origin x="0" y="0"/>
    </p:cViewPr>
  </p:notesTextViewPr>
  <p:sorterViewPr>
    <p:cViewPr>
      <p:scale>
        <a:sx n="50" d="100"/>
        <a:sy n="50" d="100"/>
      </p:scale>
      <p:origin x="0" y="0"/>
    </p:cViewPr>
  </p:sorterViewPr>
  <p:notesViewPr>
    <p:cSldViewPr snapToGrid="0" snapToObjects="1" showGuide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9CBFA3-5A3D-4F35-B362-6F81B52EF7FD}"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8FE12375-57BB-4FAA-861C-411E6E875DB3}">
      <dgm:prSet phldrT="[Text]"/>
      <dgm:spPr/>
      <dgm:t>
        <a:bodyPr/>
        <a:lstStyle/>
        <a:p>
          <a:r>
            <a:rPr lang="en-US" dirty="0"/>
            <a:t>Landing page – list of projects with budget</a:t>
          </a:r>
        </a:p>
      </dgm:t>
    </dgm:pt>
    <dgm:pt modelId="{EDBC2003-FFA0-460B-9BB7-9F9686ED8400}" type="parTrans" cxnId="{E675D763-C7F6-4CF1-991F-31C753B030FC}">
      <dgm:prSet/>
      <dgm:spPr/>
      <dgm:t>
        <a:bodyPr/>
        <a:lstStyle/>
        <a:p>
          <a:endParaRPr lang="en-US"/>
        </a:p>
      </dgm:t>
    </dgm:pt>
    <dgm:pt modelId="{2DDFFD46-F3FC-467C-A1FA-C94B57C6F6E4}" type="sibTrans" cxnId="{E675D763-C7F6-4CF1-991F-31C753B030FC}">
      <dgm:prSet/>
      <dgm:spPr/>
      <dgm:t>
        <a:bodyPr/>
        <a:lstStyle/>
        <a:p>
          <a:endParaRPr lang="en-US"/>
        </a:p>
      </dgm:t>
    </dgm:pt>
    <dgm:pt modelId="{23C14D81-1693-4858-AB69-B946F12349A8}" type="asst">
      <dgm:prSet phldrT="[Text]"/>
      <dgm:spPr/>
      <dgm:t>
        <a:bodyPr/>
        <a:lstStyle/>
        <a:p>
          <a:r>
            <a:rPr lang="en-US" dirty="0"/>
            <a:t>Project A</a:t>
          </a:r>
        </a:p>
      </dgm:t>
    </dgm:pt>
    <dgm:pt modelId="{D82DC71B-74FC-4127-84A0-DD727200C5E4}" type="parTrans" cxnId="{A13F9C5F-AABC-4039-9936-262915018ABF}">
      <dgm:prSet/>
      <dgm:spPr/>
      <dgm:t>
        <a:bodyPr/>
        <a:lstStyle/>
        <a:p>
          <a:endParaRPr lang="en-US"/>
        </a:p>
      </dgm:t>
    </dgm:pt>
    <dgm:pt modelId="{1D5A84C6-0D88-470C-9B7A-938326DC5AFA}" type="sibTrans" cxnId="{A13F9C5F-AABC-4039-9936-262915018ABF}">
      <dgm:prSet/>
      <dgm:spPr/>
      <dgm:t>
        <a:bodyPr/>
        <a:lstStyle/>
        <a:p>
          <a:endParaRPr lang="en-US"/>
        </a:p>
      </dgm:t>
    </dgm:pt>
    <dgm:pt modelId="{620A09C6-DCEA-4145-978A-437E73085B21}" type="asst">
      <dgm:prSet phldrT="[Text]"/>
      <dgm:spPr/>
      <dgm:t>
        <a:bodyPr/>
        <a:lstStyle/>
        <a:p>
          <a:r>
            <a:rPr lang="en-US" dirty="0"/>
            <a:t>Project B</a:t>
          </a:r>
        </a:p>
      </dgm:t>
    </dgm:pt>
    <dgm:pt modelId="{2276208A-9598-4101-965E-6C6F95D17C28}" type="parTrans" cxnId="{53964097-846F-47F4-8B0F-565C8C41FC43}">
      <dgm:prSet/>
      <dgm:spPr/>
      <dgm:t>
        <a:bodyPr/>
        <a:lstStyle/>
        <a:p>
          <a:endParaRPr lang="en-US"/>
        </a:p>
      </dgm:t>
    </dgm:pt>
    <dgm:pt modelId="{6A0E8038-D621-4113-8E83-DDAE6511C147}" type="sibTrans" cxnId="{53964097-846F-47F4-8B0F-565C8C41FC43}">
      <dgm:prSet/>
      <dgm:spPr/>
      <dgm:t>
        <a:bodyPr/>
        <a:lstStyle/>
        <a:p>
          <a:endParaRPr lang="en-US"/>
        </a:p>
      </dgm:t>
    </dgm:pt>
    <dgm:pt modelId="{C2B2031A-647D-4BA5-A40F-3794CDFA1976}" type="asst">
      <dgm:prSet phldrT="[Text]"/>
      <dgm:spPr/>
      <dgm:t>
        <a:bodyPr/>
        <a:lstStyle/>
        <a:p>
          <a:r>
            <a:rPr lang="en-US" dirty="0"/>
            <a:t>Electrical</a:t>
          </a:r>
        </a:p>
      </dgm:t>
    </dgm:pt>
    <dgm:pt modelId="{A65EF5CE-5436-41FC-8994-85BBB5381159}" type="parTrans" cxnId="{F89DF085-DE18-4250-90C2-BE879E307C20}">
      <dgm:prSet/>
      <dgm:spPr/>
      <dgm:t>
        <a:bodyPr/>
        <a:lstStyle/>
        <a:p>
          <a:endParaRPr lang="en-US"/>
        </a:p>
      </dgm:t>
    </dgm:pt>
    <dgm:pt modelId="{A64D1F54-26A8-4CEC-9F5F-A044CBA652CE}" type="sibTrans" cxnId="{F89DF085-DE18-4250-90C2-BE879E307C20}">
      <dgm:prSet/>
      <dgm:spPr/>
      <dgm:t>
        <a:bodyPr/>
        <a:lstStyle/>
        <a:p>
          <a:endParaRPr lang="en-US"/>
        </a:p>
      </dgm:t>
    </dgm:pt>
    <dgm:pt modelId="{C21FC8D3-9ABC-4B2C-A7E9-B7566A75B5F2}" type="asst">
      <dgm:prSet phldrT="[Text]"/>
      <dgm:spPr/>
      <dgm:t>
        <a:bodyPr/>
        <a:lstStyle/>
        <a:p>
          <a:r>
            <a:rPr lang="en-US" dirty="0"/>
            <a:t>Drywall/Paint</a:t>
          </a:r>
        </a:p>
      </dgm:t>
    </dgm:pt>
    <dgm:pt modelId="{A424783C-52C0-4D66-8D26-9FD499F32C44}" type="parTrans" cxnId="{50132F69-3145-4D28-A764-81E9EA897494}">
      <dgm:prSet/>
      <dgm:spPr/>
      <dgm:t>
        <a:bodyPr/>
        <a:lstStyle/>
        <a:p>
          <a:endParaRPr lang="en-US"/>
        </a:p>
      </dgm:t>
    </dgm:pt>
    <dgm:pt modelId="{9F546DAC-1DC7-4B4C-84F9-9A7E2903BE28}" type="sibTrans" cxnId="{50132F69-3145-4D28-A764-81E9EA897494}">
      <dgm:prSet/>
      <dgm:spPr/>
      <dgm:t>
        <a:bodyPr/>
        <a:lstStyle/>
        <a:p>
          <a:endParaRPr lang="en-US"/>
        </a:p>
      </dgm:t>
    </dgm:pt>
    <dgm:pt modelId="{1A432222-B25E-435C-AFEB-DC552E6CB320}" type="asst">
      <dgm:prSet phldrT="[Text]"/>
      <dgm:spPr/>
      <dgm:t>
        <a:bodyPr/>
        <a:lstStyle/>
        <a:p>
          <a:r>
            <a:rPr lang="en-US" dirty="0"/>
            <a:t>Plumbing</a:t>
          </a:r>
        </a:p>
      </dgm:t>
    </dgm:pt>
    <dgm:pt modelId="{A55135FF-2026-4B1A-8124-D3C15E0871D5}" type="parTrans" cxnId="{0D6ED9E1-16A0-4369-9113-81554E3A55AD}">
      <dgm:prSet/>
      <dgm:spPr/>
      <dgm:t>
        <a:bodyPr/>
        <a:lstStyle/>
        <a:p>
          <a:endParaRPr lang="en-US"/>
        </a:p>
      </dgm:t>
    </dgm:pt>
    <dgm:pt modelId="{286D7233-FB91-4596-B279-5DC4979CF718}" type="sibTrans" cxnId="{0D6ED9E1-16A0-4369-9113-81554E3A55AD}">
      <dgm:prSet/>
      <dgm:spPr/>
      <dgm:t>
        <a:bodyPr/>
        <a:lstStyle/>
        <a:p>
          <a:endParaRPr lang="en-US"/>
        </a:p>
      </dgm:t>
    </dgm:pt>
    <dgm:pt modelId="{9BFD3262-42A5-4A70-B56F-8A44F1CF33E4}" type="asst">
      <dgm:prSet phldrT="[Text]"/>
      <dgm:spPr/>
      <dgm:t>
        <a:bodyPr/>
        <a:lstStyle/>
        <a:p>
          <a:r>
            <a:rPr lang="en-US" dirty="0"/>
            <a:t>Roof</a:t>
          </a:r>
        </a:p>
      </dgm:t>
    </dgm:pt>
    <dgm:pt modelId="{56EE63DE-8C64-4952-A88E-7907E6260216}" type="parTrans" cxnId="{E363FBB5-D75E-483E-98B2-FABE61C9BBD2}">
      <dgm:prSet/>
      <dgm:spPr/>
      <dgm:t>
        <a:bodyPr/>
        <a:lstStyle/>
        <a:p>
          <a:endParaRPr lang="en-US"/>
        </a:p>
      </dgm:t>
    </dgm:pt>
    <dgm:pt modelId="{AD6C78D2-FC78-48C9-A0EB-13F62FE32E08}" type="sibTrans" cxnId="{E363FBB5-D75E-483E-98B2-FABE61C9BBD2}">
      <dgm:prSet/>
      <dgm:spPr/>
      <dgm:t>
        <a:bodyPr/>
        <a:lstStyle/>
        <a:p>
          <a:endParaRPr lang="en-US"/>
        </a:p>
      </dgm:t>
    </dgm:pt>
    <dgm:pt modelId="{3F28F199-9CC5-404B-8A1A-07050D0159CC}" type="asst">
      <dgm:prSet phldrT="[Text]"/>
      <dgm:spPr/>
      <dgm:t>
        <a:bodyPr/>
        <a:lstStyle/>
        <a:p>
          <a:r>
            <a:rPr lang="en-US" dirty="0"/>
            <a:t>Exterior</a:t>
          </a:r>
        </a:p>
      </dgm:t>
    </dgm:pt>
    <dgm:pt modelId="{A7EC3487-A0B4-4977-A71B-51399FCF813F}" type="parTrans" cxnId="{434BBC8C-66B8-4567-82CA-02625E14EBC0}">
      <dgm:prSet/>
      <dgm:spPr/>
      <dgm:t>
        <a:bodyPr/>
        <a:lstStyle/>
        <a:p>
          <a:endParaRPr lang="en-US"/>
        </a:p>
      </dgm:t>
    </dgm:pt>
    <dgm:pt modelId="{FDE74DD5-7EFC-43CE-AF50-8E55F3ECB12E}" type="sibTrans" cxnId="{434BBC8C-66B8-4567-82CA-02625E14EBC0}">
      <dgm:prSet/>
      <dgm:spPr/>
      <dgm:t>
        <a:bodyPr/>
        <a:lstStyle/>
        <a:p>
          <a:endParaRPr lang="en-US"/>
        </a:p>
      </dgm:t>
    </dgm:pt>
    <dgm:pt modelId="{C81FCD83-477D-4DC3-92DC-69D61BC3B331}" type="asst">
      <dgm:prSet phldrT="[Text]"/>
      <dgm:spPr/>
      <dgm:t>
        <a:bodyPr/>
        <a:lstStyle/>
        <a:p>
          <a:r>
            <a:rPr lang="en-US" dirty="0"/>
            <a:t>Drywall/Paint</a:t>
          </a:r>
        </a:p>
      </dgm:t>
    </dgm:pt>
    <dgm:pt modelId="{7A98A00E-2B62-4903-9144-EC840D8E7833}" type="parTrans" cxnId="{07317ACD-3BE2-4053-8DAC-69C8AF0E965E}">
      <dgm:prSet/>
      <dgm:spPr/>
      <dgm:t>
        <a:bodyPr/>
        <a:lstStyle/>
        <a:p>
          <a:endParaRPr lang="en-US"/>
        </a:p>
      </dgm:t>
    </dgm:pt>
    <dgm:pt modelId="{3123066C-5E3A-4B19-A984-F7750CE6F6AD}" type="sibTrans" cxnId="{07317ACD-3BE2-4053-8DAC-69C8AF0E965E}">
      <dgm:prSet/>
      <dgm:spPr/>
      <dgm:t>
        <a:bodyPr/>
        <a:lstStyle/>
        <a:p>
          <a:endParaRPr lang="en-US"/>
        </a:p>
      </dgm:t>
    </dgm:pt>
    <dgm:pt modelId="{AF91275A-1248-4870-8136-9A9839989FDE}" type="asst">
      <dgm:prSet phldrT="[Text]"/>
      <dgm:spPr/>
      <dgm:t>
        <a:bodyPr/>
        <a:lstStyle/>
        <a:p>
          <a:r>
            <a:rPr lang="en-US" dirty="0"/>
            <a:t>Sub A</a:t>
          </a:r>
        </a:p>
      </dgm:t>
    </dgm:pt>
    <dgm:pt modelId="{1488D9C1-6335-4012-A552-6387165E942E}" type="parTrans" cxnId="{43FFA498-B89E-4EE3-9309-955B44D3DCAC}">
      <dgm:prSet/>
      <dgm:spPr/>
      <dgm:t>
        <a:bodyPr/>
        <a:lstStyle/>
        <a:p>
          <a:endParaRPr lang="en-US"/>
        </a:p>
      </dgm:t>
    </dgm:pt>
    <dgm:pt modelId="{307596B0-E6C6-4DB7-8298-E2A468B52A5F}" type="sibTrans" cxnId="{43FFA498-B89E-4EE3-9309-955B44D3DCAC}">
      <dgm:prSet/>
      <dgm:spPr/>
      <dgm:t>
        <a:bodyPr/>
        <a:lstStyle/>
        <a:p>
          <a:endParaRPr lang="en-US"/>
        </a:p>
      </dgm:t>
    </dgm:pt>
    <dgm:pt modelId="{C7BA087C-A227-4B1D-8EA7-A02E76FFA65B}" type="asst">
      <dgm:prSet phldrT="[Text]"/>
      <dgm:spPr/>
      <dgm:t>
        <a:bodyPr/>
        <a:lstStyle/>
        <a:p>
          <a:r>
            <a:rPr lang="en-US" dirty="0"/>
            <a:t>Sub B</a:t>
          </a:r>
        </a:p>
      </dgm:t>
    </dgm:pt>
    <dgm:pt modelId="{35AF1BF8-4363-45F5-9520-54484C46604A}" type="parTrans" cxnId="{D465E0CF-3E61-4646-85AA-4563E4F44029}">
      <dgm:prSet/>
      <dgm:spPr/>
      <dgm:t>
        <a:bodyPr/>
        <a:lstStyle/>
        <a:p>
          <a:endParaRPr lang="en-US"/>
        </a:p>
      </dgm:t>
    </dgm:pt>
    <dgm:pt modelId="{77DF4454-D2AC-422C-8EE8-8218D52D7DFF}" type="sibTrans" cxnId="{D465E0CF-3E61-4646-85AA-4563E4F44029}">
      <dgm:prSet/>
      <dgm:spPr/>
      <dgm:t>
        <a:bodyPr/>
        <a:lstStyle/>
        <a:p>
          <a:endParaRPr lang="en-US"/>
        </a:p>
      </dgm:t>
    </dgm:pt>
    <dgm:pt modelId="{17E46A86-529F-4852-8AC0-8BD507FB6D29}" type="asst">
      <dgm:prSet phldrT="[Text]"/>
      <dgm:spPr/>
      <dgm:t>
        <a:bodyPr/>
        <a:lstStyle/>
        <a:p>
          <a:r>
            <a:rPr lang="en-US" dirty="0"/>
            <a:t>Sub C</a:t>
          </a:r>
        </a:p>
      </dgm:t>
    </dgm:pt>
    <dgm:pt modelId="{F96C4924-522C-4341-86F6-D8158291AA89}" type="parTrans" cxnId="{73BB5CA3-F696-4645-99C6-6FE9ACA62EA9}">
      <dgm:prSet/>
      <dgm:spPr/>
      <dgm:t>
        <a:bodyPr/>
        <a:lstStyle/>
        <a:p>
          <a:endParaRPr lang="en-US"/>
        </a:p>
      </dgm:t>
    </dgm:pt>
    <dgm:pt modelId="{01B04AA5-52E5-42FE-97E8-204F1B27B71F}" type="sibTrans" cxnId="{73BB5CA3-F696-4645-99C6-6FE9ACA62EA9}">
      <dgm:prSet/>
      <dgm:spPr/>
      <dgm:t>
        <a:bodyPr/>
        <a:lstStyle/>
        <a:p>
          <a:endParaRPr lang="en-US"/>
        </a:p>
      </dgm:t>
    </dgm:pt>
    <dgm:pt modelId="{52BDE069-A88F-4AFA-9E4D-D9A6E1B61B3B}" type="asst">
      <dgm:prSet phldrT="[Text]"/>
      <dgm:spPr/>
      <dgm:t>
        <a:bodyPr/>
        <a:lstStyle/>
        <a:p>
          <a:r>
            <a:rPr lang="en-US" dirty="0"/>
            <a:t>Sub D</a:t>
          </a:r>
        </a:p>
      </dgm:t>
    </dgm:pt>
    <dgm:pt modelId="{505A5C14-01D9-46D8-B42E-EF00075F5A10}" type="parTrans" cxnId="{75BD04AB-568F-455A-B4D4-A1FD3B5F6BCC}">
      <dgm:prSet/>
      <dgm:spPr/>
      <dgm:t>
        <a:bodyPr/>
        <a:lstStyle/>
        <a:p>
          <a:endParaRPr lang="en-US"/>
        </a:p>
      </dgm:t>
    </dgm:pt>
    <dgm:pt modelId="{481965E7-0236-41A9-AAC6-E3108BB74A5C}" type="sibTrans" cxnId="{75BD04AB-568F-455A-B4D4-A1FD3B5F6BCC}">
      <dgm:prSet/>
      <dgm:spPr/>
      <dgm:t>
        <a:bodyPr/>
        <a:lstStyle/>
        <a:p>
          <a:endParaRPr lang="en-US"/>
        </a:p>
      </dgm:t>
    </dgm:pt>
    <dgm:pt modelId="{2D14A526-4DA5-4FE5-A2D7-34E459C38F4B}" type="pres">
      <dgm:prSet presAssocID="{2B9CBFA3-5A3D-4F35-B362-6F81B52EF7FD}" presName="hierChild1" presStyleCnt="0">
        <dgm:presLayoutVars>
          <dgm:orgChart val="1"/>
          <dgm:chPref val="1"/>
          <dgm:dir/>
          <dgm:animOne val="branch"/>
          <dgm:animLvl val="lvl"/>
          <dgm:resizeHandles/>
        </dgm:presLayoutVars>
      </dgm:prSet>
      <dgm:spPr/>
    </dgm:pt>
    <dgm:pt modelId="{DE158A8A-F953-4DAF-9256-14CE3003AD89}" type="pres">
      <dgm:prSet presAssocID="{8FE12375-57BB-4FAA-861C-411E6E875DB3}" presName="hierRoot1" presStyleCnt="0">
        <dgm:presLayoutVars>
          <dgm:hierBranch val="init"/>
        </dgm:presLayoutVars>
      </dgm:prSet>
      <dgm:spPr/>
    </dgm:pt>
    <dgm:pt modelId="{6968EA08-365B-41CA-A74F-C568AE7A5EC4}" type="pres">
      <dgm:prSet presAssocID="{8FE12375-57BB-4FAA-861C-411E6E875DB3}" presName="rootComposite1" presStyleCnt="0"/>
      <dgm:spPr/>
    </dgm:pt>
    <dgm:pt modelId="{AC623352-B711-4A54-9FEB-A609B3A2B56F}" type="pres">
      <dgm:prSet presAssocID="{8FE12375-57BB-4FAA-861C-411E6E875DB3}" presName="rootText1" presStyleLbl="node0" presStyleIdx="0" presStyleCnt="1" custScaleX="166515">
        <dgm:presLayoutVars>
          <dgm:chPref val="3"/>
        </dgm:presLayoutVars>
      </dgm:prSet>
      <dgm:spPr/>
    </dgm:pt>
    <dgm:pt modelId="{2945E4B6-ECA1-4419-A4D0-536AD997E989}" type="pres">
      <dgm:prSet presAssocID="{8FE12375-57BB-4FAA-861C-411E6E875DB3}" presName="rootConnector1" presStyleLbl="node1" presStyleIdx="0" presStyleCnt="0"/>
      <dgm:spPr/>
    </dgm:pt>
    <dgm:pt modelId="{6CDE2B3E-A926-4BB7-A01B-064C99D62E53}" type="pres">
      <dgm:prSet presAssocID="{8FE12375-57BB-4FAA-861C-411E6E875DB3}" presName="hierChild2" presStyleCnt="0"/>
      <dgm:spPr/>
    </dgm:pt>
    <dgm:pt modelId="{F2C750FA-FEA7-4D58-A18F-959CCF486537}" type="pres">
      <dgm:prSet presAssocID="{8FE12375-57BB-4FAA-861C-411E6E875DB3}" presName="hierChild3" presStyleCnt="0"/>
      <dgm:spPr/>
    </dgm:pt>
    <dgm:pt modelId="{037B1E98-25CB-403A-8E25-7800726D11E8}" type="pres">
      <dgm:prSet presAssocID="{D82DC71B-74FC-4127-84A0-DD727200C5E4}" presName="Name111" presStyleLbl="parChTrans1D2" presStyleIdx="0" presStyleCnt="2"/>
      <dgm:spPr/>
    </dgm:pt>
    <dgm:pt modelId="{7DBB176E-B930-41A9-BF9F-369525B850FA}" type="pres">
      <dgm:prSet presAssocID="{23C14D81-1693-4858-AB69-B946F12349A8}" presName="hierRoot3" presStyleCnt="0">
        <dgm:presLayoutVars>
          <dgm:hierBranch val="init"/>
        </dgm:presLayoutVars>
      </dgm:prSet>
      <dgm:spPr/>
    </dgm:pt>
    <dgm:pt modelId="{E5ACE25A-00D9-4038-923A-FD5A81F9B119}" type="pres">
      <dgm:prSet presAssocID="{23C14D81-1693-4858-AB69-B946F12349A8}" presName="rootComposite3" presStyleCnt="0"/>
      <dgm:spPr/>
    </dgm:pt>
    <dgm:pt modelId="{86D1CDCE-BEAC-4F79-969F-6B844A76B303}" type="pres">
      <dgm:prSet presAssocID="{23C14D81-1693-4858-AB69-B946F12349A8}" presName="rootText3" presStyleLbl="asst1" presStyleIdx="0" presStyleCnt="12">
        <dgm:presLayoutVars>
          <dgm:chPref val="3"/>
        </dgm:presLayoutVars>
      </dgm:prSet>
      <dgm:spPr/>
    </dgm:pt>
    <dgm:pt modelId="{958A44B2-DA7D-4EA1-9391-88536194DCC0}" type="pres">
      <dgm:prSet presAssocID="{23C14D81-1693-4858-AB69-B946F12349A8}" presName="rootConnector3" presStyleLbl="asst1" presStyleIdx="0" presStyleCnt="12"/>
      <dgm:spPr/>
    </dgm:pt>
    <dgm:pt modelId="{23E48EA1-3C81-4515-AB52-A03B9BA211C2}" type="pres">
      <dgm:prSet presAssocID="{23C14D81-1693-4858-AB69-B946F12349A8}" presName="hierChild6" presStyleCnt="0"/>
      <dgm:spPr/>
    </dgm:pt>
    <dgm:pt modelId="{ECF51478-EF9A-47F3-8197-41DE2C10676E}" type="pres">
      <dgm:prSet presAssocID="{23C14D81-1693-4858-AB69-B946F12349A8}" presName="hierChild7" presStyleCnt="0"/>
      <dgm:spPr/>
    </dgm:pt>
    <dgm:pt modelId="{218A1248-ADD0-433A-BA64-96F15A5FC96F}" type="pres">
      <dgm:prSet presAssocID="{56EE63DE-8C64-4952-A88E-7907E6260216}" presName="Name111" presStyleLbl="parChTrans1D3" presStyleIdx="0" presStyleCnt="6"/>
      <dgm:spPr/>
    </dgm:pt>
    <dgm:pt modelId="{176554D9-1397-4E74-922E-AA0ED7385973}" type="pres">
      <dgm:prSet presAssocID="{9BFD3262-42A5-4A70-B56F-8A44F1CF33E4}" presName="hierRoot3" presStyleCnt="0">
        <dgm:presLayoutVars>
          <dgm:hierBranch val="init"/>
        </dgm:presLayoutVars>
      </dgm:prSet>
      <dgm:spPr/>
    </dgm:pt>
    <dgm:pt modelId="{18B57D7B-87A3-4666-BDA4-CA0289FBBE76}" type="pres">
      <dgm:prSet presAssocID="{9BFD3262-42A5-4A70-B56F-8A44F1CF33E4}" presName="rootComposite3" presStyleCnt="0"/>
      <dgm:spPr/>
    </dgm:pt>
    <dgm:pt modelId="{4ECA33AE-0F92-4715-99E9-29D7AB003517}" type="pres">
      <dgm:prSet presAssocID="{9BFD3262-42A5-4A70-B56F-8A44F1CF33E4}" presName="rootText3" presStyleLbl="asst1" presStyleIdx="1" presStyleCnt="12" custLinFactNeighborX="54722" custLinFactNeighborY="-2382">
        <dgm:presLayoutVars>
          <dgm:chPref val="3"/>
        </dgm:presLayoutVars>
      </dgm:prSet>
      <dgm:spPr/>
    </dgm:pt>
    <dgm:pt modelId="{4FB8521A-D98D-45BB-91DB-062C786F6A96}" type="pres">
      <dgm:prSet presAssocID="{9BFD3262-42A5-4A70-B56F-8A44F1CF33E4}" presName="rootConnector3" presStyleLbl="asst1" presStyleIdx="1" presStyleCnt="12"/>
      <dgm:spPr/>
    </dgm:pt>
    <dgm:pt modelId="{D110CC58-A291-4201-92C7-828BF2CD2193}" type="pres">
      <dgm:prSet presAssocID="{9BFD3262-42A5-4A70-B56F-8A44F1CF33E4}" presName="hierChild6" presStyleCnt="0"/>
      <dgm:spPr/>
    </dgm:pt>
    <dgm:pt modelId="{DE773832-843A-4F70-866D-D71C2F1E95AE}" type="pres">
      <dgm:prSet presAssocID="{9BFD3262-42A5-4A70-B56F-8A44F1CF33E4}" presName="hierChild7" presStyleCnt="0"/>
      <dgm:spPr/>
    </dgm:pt>
    <dgm:pt modelId="{EA216A1A-D0FC-4EBA-84D8-0EC2D101572D}" type="pres">
      <dgm:prSet presAssocID="{1488D9C1-6335-4012-A552-6387165E942E}" presName="Name111" presStyleLbl="parChTrans1D4" presStyleIdx="0" presStyleCnt="4"/>
      <dgm:spPr/>
    </dgm:pt>
    <dgm:pt modelId="{3A61AD52-F940-47DD-BB03-819B850A5975}" type="pres">
      <dgm:prSet presAssocID="{AF91275A-1248-4870-8136-9A9839989FDE}" presName="hierRoot3" presStyleCnt="0">
        <dgm:presLayoutVars>
          <dgm:hierBranch val="init"/>
        </dgm:presLayoutVars>
      </dgm:prSet>
      <dgm:spPr/>
    </dgm:pt>
    <dgm:pt modelId="{F0BC282D-7364-49E1-AD96-0DBA0DC4D9E1}" type="pres">
      <dgm:prSet presAssocID="{AF91275A-1248-4870-8136-9A9839989FDE}" presName="rootComposite3" presStyleCnt="0"/>
      <dgm:spPr/>
    </dgm:pt>
    <dgm:pt modelId="{60DBEC69-7706-4677-85A4-044E54B9E8C4}" type="pres">
      <dgm:prSet presAssocID="{AF91275A-1248-4870-8136-9A9839989FDE}" presName="rootText3" presStyleLbl="asst1" presStyleIdx="2" presStyleCnt="12" custScaleX="84411" custScaleY="60632" custLinFactY="-79634" custLinFactNeighborX="1110" custLinFactNeighborY="-100000">
        <dgm:presLayoutVars>
          <dgm:chPref val="3"/>
        </dgm:presLayoutVars>
      </dgm:prSet>
      <dgm:spPr/>
    </dgm:pt>
    <dgm:pt modelId="{1DCB7A5A-0D9A-43D7-9849-A0EB0BC9BA6C}" type="pres">
      <dgm:prSet presAssocID="{AF91275A-1248-4870-8136-9A9839989FDE}" presName="rootConnector3" presStyleLbl="asst1" presStyleIdx="2" presStyleCnt="12"/>
      <dgm:spPr/>
    </dgm:pt>
    <dgm:pt modelId="{F68CDC88-3DC8-406B-BCB3-8BFF824EEFA7}" type="pres">
      <dgm:prSet presAssocID="{AF91275A-1248-4870-8136-9A9839989FDE}" presName="hierChild6" presStyleCnt="0"/>
      <dgm:spPr/>
    </dgm:pt>
    <dgm:pt modelId="{04C09A04-E11B-4239-B953-F3BC2D5498CA}" type="pres">
      <dgm:prSet presAssocID="{AF91275A-1248-4870-8136-9A9839989FDE}" presName="hierChild7" presStyleCnt="0"/>
      <dgm:spPr/>
    </dgm:pt>
    <dgm:pt modelId="{0E3BEBDD-F70A-4502-9AB1-CDBE07F74B8D}" type="pres">
      <dgm:prSet presAssocID="{35AF1BF8-4363-45F5-9520-54484C46604A}" presName="Name111" presStyleLbl="parChTrans1D4" presStyleIdx="1" presStyleCnt="4"/>
      <dgm:spPr/>
    </dgm:pt>
    <dgm:pt modelId="{685711CF-A3FB-4B5A-BEEB-4435F9A8271A}" type="pres">
      <dgm:prSet presAssocID="{C7BA087C-A227-4B1D-8EA7-A02E76FFA65B}" presName="hierRoot3" presStyleCnt="0">
        <dgm:presLayoutVars>
          <dgm:hierBranch val="init"/>
        </dgm:presLayoutVars>
      </dgm:prSet>
      <dgm:spPr/>
    </dgm:pt>
    <dgm:pt modelId="{615F3DB1-C45E-4A35-8D06-F20646DFE2C3}" type="pres">
      <dgm:prSet presAssocID="{C7BA087C-A227-4B1D-8EA7-A02E76FFA65B}" presName="rootComposite3" presStyleCnt="0"/>
      <dgm:spPr/>
    </dgm:pt>
    <dgm:pt modelId="{0A9225AF-8C2A-4525-9B21-BFFCB32EC877}" type="pres">
      <dgm:prSet presAssocID="{C7BA087C-A227-4B1D-8EA7-A02E76FFA65B}" presName="rootText3" presStyleLbl="asst1" presStyleIdx="3" presStyleCnt="12" custScaleX="84411" custScaleY="60632" custLinFactX="-13119" custLinFactY="-5027" custLinFactNeighborX="-100000" custLinFactNeighborY="-100000">
        <dgm:presLayoutVars>
          <dgm:chPref val="3"/>
        </dgm:presLayoutVars>
      </dgm:prSet>
      <dgm:spPr/>
    </dgm:pt>
    <dgm:pt modelId="{4C747FC2-0264-44D7-9D4A-A4CC0D9BF616}" type="pres">
      <dgm:prSet presAssocID="{C7BA087C-A227-4B1D-8EA7-A02E76FFA65B}" presName="rootConnector3" presStyleLbl="asst1" presStyleIdx="3" presStyleCnt="12"/>
      <dgm:spPr/>
    </dgm:pt>
    <dgm:pt modelId="{0D64A06B-FA70-4BE2-9F10-14FA74F9776C}" type="pres">
      <dgm:prSet presAssocID="{C7BA087C-A227-4B1D-8EA7-A02E76FFA65B}" presName="hierChild6" presStyleCnt="0"/>
      <dgm:spPr/>
    </dgm:pt>
    <dgm:pt modelId="{AE6207FD-CE93-4C0F-8AC2-C0F8FA2FFE32}" type="pres">
      <dgm:prSet presAssocID="{C7BA087C-A227-4B1D-8EA7-A02E76FFA65B}" presName="hierChild7" presStyleCnt="0"/>
      <dgm:spPr/>
    </dgm:pt>
    <dgm:pt modelId="{84F051F8-63C6-43AC-8489-FDE6A6FF7312}" type="pres">
      <dgm:prSet presAssocID="{A7EC3487-A0B4-4977-A71B-51399FCF813F}" presName="Name111" presStyleLbl="parChTrans1D3" presStyleIdx="1" presStyleCnt="6"/>
      <dgm:spPr/>
    </dgm:pt>
    <dgm:pt modelId="{F34C9092-C60D-4AF6-90B8-DF106A3225BC}" type="pres">
      <dgm:prSet presAssocID="{3F28F199-9CC5-404B-8A1A-07050D0159CC}" presName="hierRoot3" presStyleCnt="0">
        <dgm:presLayoutVars>
          <dgm:hierBranch val="init"/>
        </dgm:presLayoutVars>
      </dgm:prSet>
      <dgm:spPr/>
    </dgm:pt>
    <dgm:pt modelId="{6CE1CB50-3ED6-4C2C-99E1-6F7063287FBB}" type="pres">
      <dgm:prSet presAssocID="{3F28F199-9CC5-404B-8A1A-07050D0159CC}" presName="rootComposite3" presStyleCnt="0"/>
      <dgm:spPr/>
    </dgm:pt>
    <dgm:pt modelId="{998360FF-01E2-464F-B073-DC4B1C4EE534}" type="pres">
      <dgm:prSet presAssocID="{3F28F199-9CC5-404B-8A1A-07050D0159CC}" presName="rootText3" presStyleLbl="asst1" presStyleIdx="4" presStyleCnt="12" custLinFactX="-22250" custLinFactY="100000" custLinFactNeighborX="-100000" custLinFactNeighborY="141889">
        <dgm:presLayoutVars>
          <dgm:chPref val="3"/>
        </dgm:presLayoutVars>
      </dgm:prSet>
      <dgm:spPr/>
    </dgm:pt>
    <dgm:pt modelId="{79B64CE5-646C-4C83-9FCB-03AB6C63C7B5}" type="pres">
      <dgm:prSet presAssocID="{3F28F199-9CC5-404B-8A1A-07050D0159CC}" presName="rootConnector3" presStyleLbl="asst1" presStyleIdx="4" presStyleCnt="12"/>
      <dgm:spPr/>
    </dgm:pt>
    <dgm:pt modelId="{89CCD6DB-1810-4A84-B867-B93465670658}" type="pres">
      <dgm:prSet presAssocID="{3F28F199-9CC5-404B-8A1A-07050D0159CC}" presName="hierChild6" presStyleCnt="0"/>
      <dgm:spPr/>
    </dgm:pt>
    <dgm:pt modelId="{EB74C256-AD30-4167-88F1-27AF544795BB}" type="pres">
      <dgm:prSet presAssocID="{3F28F199-9CC5-404B-8A1A-07050D0159CC}" presName="hierChild7" presStyleCnt="0"/>
      <dgm:spPr/>
    </dgm:pt>
    <dgm:pt modelId="{136D11A5-F616-4B06-A50F-4BD89587DB3C}" type="pres">
      <dgm:prSet presAssocID="{7A98A00E-2B62-4903-9144-EC840D8E7833}" presName="Name111" presStyleLbl="parChTrans1D3" presStyleIdx="2" presStyleCnt="6"/>
      <dgm:spPr/>
    </dgm:pt>
    <dgm:pt modelId="{29949E37-6557-4A36-9ED4-A92351ED5AD4}" type="pres">
      <dgm:prSet presAssocID="{C81FCD83-477D-4DC3-92DC-69D61BC3B331}" presName="hierRoot3" presStyleCnt="0">
        <dgm:presLayoutVars>
          <dgm:hierBranch val="init"/>
        </dgm:presLayoutVars>
      </dgm:prSet>
      <dgm:spPr/>
    </dgm:pt>
    <dgm:pt modelId="{204C5E81-3FBB-41B3-90C0-62EF213E8D9A}" type="pres">
      <dgm:prSet presAssocID="{C81FCD83-477D-4DC3-92DC-69D61BC3B331}" presName="rootComposite3" presStyleCnt="0"/>
      <dgm:spPr/>
    </dgm:pt>
    <dgm:pt modelId="{65586556-0080-40A2-861D-F5C41C329A1A}" type="pres">
      <dgm:prSet presAssocID="{C81FCD83-477D-4DC3-92DC-69D61BC3B331}" presName="rootText3" presStyleLbl="asst1" presStyleIdx="5" presStyleCnt="12" custLinFactX="4400" custLinFactY="-50800" custLinFactNeighborX="100000" custLinFactNeighborY="-100000">
        <dgm:presLayoutVars>
          <dgm:chPref val="3"/>
        </dgm:presLayoutVars>
      </dgm:prSet>
      <dgm:spPr/>
    </dgm:pt>
    <dgm:pt modelId="{B5D67259-1C6B-4AEB-93EB-CAA088F96DE0}" type="pres">
      <dgm:prSet presAssocID="{C81FCD83-477D-4DC3-92DC-69D61BC3B331}" presName="rootConnector3" presStyleLbl="asst1" presStyleIdx="5" presStyleCnt="12"/>
      <dgm:spPr/>
    </dgm:pt>
    <dgm:pt modelId="{FB9DCEF8-5835-47F3-BA21-FE7D50B07499}" type="pres">
      <dgm:prSet presAssocID="{C81FCD83-477D-4DC3-92DC-69D61BC3B331}" presName="hierChild6" presStyleCnt="0"/>
      <dgm:spPr/>
    </dgm:pt>
    <dgm:pt modelId="{C9A41294-21F1-42C7-BEEB-C4DF2E827353}" type="pres">
      <dgm:prSet presAssocID="{C81FCD83-477D-4DC3-92DC-69D61BC3B331}" presName="hierChild7" presStyleCnt="0"/>
      <dgm:spPr/>
    </dgm:pt>
    <dgm:pt modelId="{79B0B234-399C-45A8-8406-6D32F178E2CD}" type="pres">
      <dgm:prSet presAssocID="{2276208A-9598-4101-965E-6C6F95D17C28}" presName="Name111" presStyleLbl="parChTrans1D2" presStyleIdx="1" presStyleCnt="2"/>
      <dgm:spPr/>
    </dgm:pt>
    <dgm:pt modelId="{4F7F5EA2-1328-4007-A981-D511CCE187FC}" type="pres">
      <dgm:prSet presAssocID="{620A09C6-DCEA-4145-978A-437E73085B21}" presName="hierRoot3" presStyleCnt="0">
        <dgm:presLayoutVars>
          <dgm:hierBranch val="init"/>
        </dgm:presLayoutVars>
      </dgm:prSet>
      <dgm:spPr/>
    </dgm:pt>
    <dgm:pt modelId="{64827805-DBB4-476D-BC28-C26821C69A41}" type="pres">
      <dgm:prSet presAssocID="{620A09C6-DCEA-4145-978A-437E73085B21}" presName="rootComposite3" presStyleCnt="0"/>
      <dgm:spPr/>
    </dgm:pt>
    <dgm:pt modelId="{6969C14A-8300-4CA7-8653-D8F169AE1885}" type="pres">
      <dgm:prSet presAssocID="{620A09C6-DCEA-4145-978A-437E73085B21}" presName="rootText3" presStyleLbl="asst1" presStyleIdx="6" presStyleCnt="12">
        <dgm:presLayoutVars>
          <dgm:chPref val="3"/>
        </dgm:presLayoutVars>
      </dgm:prSet>
      <dgm:spPr/>
    </dgm:pt>
    <dgm:pt modelId="{E8BD79CE-FC66-411E-938D-CA8DC47673C7}" type="pres">
      <dgm:prSet presAssocID="{620A09C6-DCEA-4145-978A-437E73085B21}" presName="rootConnector3" presStyleLbl="asst1" presStyleIdx="6" presStyleCnt="12"/>
      <dgm:spPr/>
    </dgm:pt>
    <dgm:pt modelId="{40547FB9-D9AF-40F3-81FE-799A97FF4729}" type="pres">
      <dgm:prSet presAssocID="{620A09C6-DCEA-4145-978A-437E73085B21}" presName="hierChild6" presStyleCnt="0"/>
      <dgm:spPr/>
    </dgm:pt>
    <dgm:pt modelId="{994B28C1-47A3-4941-B1BA-6A8CAEE6E99E}" type="pres">
      <dgm:prSet presAssocID="{620A09C6-DCEA-4145-978A-437E73085B21}" presName="hierChild7" presStyleCnt="0"/>
      <dgm:spPr/>
    </dgm:pt>
    <dgm:pt modelId="{58E26365-3C11-44DB-9FC7-CBCD621C06D6}" type="pres">
      <dgm:prSet presAssocID="{A65EF5CE-5436-41FC-8994-85BBB5381159}" presName="Name111" presStyleLbl="parChTrans1D3" presStyleIdx="3" presStyleCnt="6"/>
      <dgm:spPr/>
    </dgm:pt>
    <dgm:pt modelId="{E63107BA-DF3C-4E20-B5B2-D3EEF6D925BA}" type="pres">
      <dgm:prSet presAssocID="{C2B2031A-647D-4BA5-A40F-3794CDFA1976}" presName="hierRoot3" presStyleCnt="0">
        <dgm:presLayoutVars>
          <dgm:hierBranch val="init"/>
        </dgm:presLayoutVars>
      </dgm:prSet>
      <dgm:spPr/>
    </dgm:pt>
    <dgm:pt modelId="{95C8039C-097B-4F27-8923-A0B698E5AFC5}" type="pres">
      <dgm:prSet presAssocID="{C2B2031A-647D-4BA5-A40F-3794CDFA1976}" presName="rootComposite3" presStyleCnt="0"/>
      <dgm:spPr/>
    </dgm:pt>
    <dgm:pt modelId="{7C8A914E-16C8-4A5A-8A97-A7E12F41B2D6}" type="pres">
      <dgm:prSet presAssocID="{C2B2031A-647D-4BA5-A40F-3794CDFA1976}" presName="rootText3" presStyleLbl="asst1" presStyleIdx="7" presStyleCnt="12" custLinFactNeighborX="32400">
        <dgm:presLayoutVars>
          <dgm:chPref val="3"/>
        </dgm:presLayoutVars>
      </dgm:prSet>
      <dgm:spPr/>
    </dgm:pt>
    <dgm:pt modelId="{12C13BB3-8AF5-4BD0-B7A1-39FF59DEC821}" type="pres">
      <dgm:prSet presAssocID="{C2B2031A-647D-4BA5-A40F-3794CDFA1976}" presName="rootConnector3" presStyleLbl="asst1" presStyleIdx="7" presStyleCnt="12"/>
      <dgm:spPr/>
    </dgm:pt>
    <dgm:pt modelId="{D8BE217D-4E99-4DB7-8ADE-65A987635E23}" type="pres">
      <dgm:prSet presAssocID="{C2B2031A-647D-4BA5-A40F-3794CDFA1976}" presName="hierChild6" presStyleCnt="0"/>
      <dgm:spPr/>
    </dgm:pt>
    <dgm:pt modelId="{CEA2F8EC-5A3A-498A-9DC8-4124D8671C00}" type="pres">
      <dgm:prSet presAssocID="{C2B2031A-647D-4BA5-A40F-3794CDFA1976}" presName="hierChild7" presStyleCnt="0"/>
      <dgm:spPr/>
    </dgm:pt>
    <dgm:pt modelId="{C8F076B0-720B-4F83-9942-DB436B0E27E0}" type="pres">
      <dgm:prSet presAssocID="{F96C4924-522C-4341-86F6-D8158291AA89}" presName="Name111" presStyleLbl="parChTrans1D4" presStyleIdx="2" presStyleCnt="4"/>
      <dgm:spPr/>
    </dgm:pt>
    <dgm:pt modelId="{E0198094-5A5B-42AD-8A52-4B0D8BA35DA6}" type="pres">
      <dgm:prSet presAssocID="{17E46A86-529F-4852-8AC0-8BD507FB6D29}" presName="hierRoot3" presStyleCnt="0">
        <dgm:presLayoutVars>
          <dgm:hierBranch val="init"/>
        </dgm:presLayoutVars>
      </dgm:prSet>
      <dgm:spPr/>
    </dgm:pt>
    <dgm:pt modelId="{0C3962BA-CFA6-4AA5-B13A-1E6B3AB43E0D}" type="pres">
      <dgm:prSet presAssocID="{17E46A86-529F-4852-8AC0-8BD507FB6D29}" presName="rootComposite3" presStyleCnt="0"/>
      <dgm:spPr/>
    </dgm:pt>
    <dgm:pt modelId="{BC9FA306-396F-43CA-A87E-04876AFDBF0C}" type="pres">
      <dgm:prSet presAssocID="{17E46A86-529F-4852-8AC0-8BD507FB6D29}" presName="rootText3" presStyleLbl="asst1" presStyleIdx="8" presStyleCnt="12" custScaleX="72362" custScaleY="38862" custLinFactY="-67379" custLinFactNeighborX="-28410" custLinFactNeighborY="-100000">
        <dgm:presLayoutVars>
          <dgm:chPref val="3"/>
        </dgm:presLayoutVars>
      </dgm:prSet>
      <dgm:spPr/>
    </dgm:pt>
    <dgm:pt modelId="{095CEE65-7D1F-48CC-9AEE-DC4699B2124E}" type="pres">
      <dgm:prSet presAssocID="{17E46A86-529F-4852-8AC0-8BD507FB6D29}" presName="rootConnector3" presStyleLbl="asst1" presStyleIdx="8" presStyleCnt="12"/>
      <dgm:spPr/>
    </dgm:pt>
    <dgm:pt modelId="{A48DA3AF-623A-4360-A215-C39096C904E7}" type="pres">
      <dgm:prSet presAssocID="{17E46A86-529F-4852-8AC0-8BD507FB6D29}" presName="hierChild6" presStyleCnt="0"/>
      <dgm:spPr/>
    </dgm:pt>
    <dgm:pt modelId="{A81B77D8-A36E-48FC-BE26-92469BC2AC80}" type="pres">
      <dgm:prSet presAssocID="{17E46A86-529F-4852-8AC0-8BD507FB6D29}" presName="hierChild7" presStyleCnt="0"/>
      <dgm:spPr/>
    </dgm:pt>
    <dgm:pt modelId="{7A20EE9F-D4B5-4FA4-BE7A-2FF9DDA88AEB}" type="pres">
      <dgm:prSet presAssocID="{505A5C14-01D9-46D8-B42E-EF00075F5A10}" presName="Name111" presStyleLbl="parChTrans1D4" presStyleIdx="3" presStyleCnt="4"/>
      <dgm:spPr/>
    </dgm:pt>
    <dgm:pt modelId="{B203FAD1-C478-45BD-AC2E-F6EBB02A58AA}" type="pres">
      <dgm:prSet presAssocID="{52BDE069-A88F-4AFA-9E4D-D9A6E1B61B3B}" presName="hierRoot3" presStyleCnt="0">
        <dgm:presLayoutVars>
          <dgm:hierBranch val="init"/>
        </dgm:presLayoutVars>
      </dgm:prSet>
      <dgm:spPr/>
    </dgm:pt>
    <dgm:pt modelId="{27E60157-CA56-47B1-93EF-6AC564AF4C60}" type="pres">
      <dgm:prSet presAssocID="{52BDE069-A88F-4AFA-9E4D-D9A6E1B61B3B}" presName="rootComposite3" presStyleCnt="0"/>
      <dgm:spPr/>
    </dgm:pt>
    <dgm:pt modelId="{58215910-66C9-4467-B345-791D4E512EE0}" type="pres">
      <dgm:prSet presAssocID="{52BDE069-A88F-4AFA-9E4D-D9A6E1B61B3B}" presName="rootText3" presStyleLbl="asst1" presStyleIdx="9" presStyleCnt="12" custScaleX="72362" custScaleY="38862" custLinFactX="-47138" custLinFactY="-5286" custLinFactNeighborX="-100000" custLinFactNeighborY="-100000">
        <dgm:presLayoutVars>
          <dgm:chPref val="3"/>
        </dgm:presLayoutVars>
      </dgm:prSet>
      <dgm:spPr/>
    </dgm:pt>
    <dgm:pt modelId="{8ECB9160-A695-4EA2-8D02-5E47388A88AC}" type="pres">
      <dgm:prSet presAssocID="{52BDE069-A88F-4AFA-9E4D-D9A6E1B61B3B}" presName="rootConnector3" presStyleLbl="asst1" presStyleIdx="9" presStyleCnt="12"/>
      <dgm:spPr/>
    </dgm:pt>
    <dgm:pt modelId="{3006723B-10EA-4AB2-B734-46A24B943731}" type="pres">
      <dgm:prSet presAssocID="{52BDE069-A88F-4AFA-9E4D-D9A6E1B61B3B}" presName="hierChild6" presStyleCnt="0"/>
      <dgm:spPr/>
    </dgm:pt>
    <dgm:pt modelId="{6F91FAED-05D9-44B3-A26D-D69D46008186}" type="pres">
      <dgm:prSet presAssocID="{52BDE069-A88F-4AFA-9E4D-D9A6E1B61B3B}" presName="hierChild7" presStyleCnt="0"/>
      <dgm:spPr/>
    </dgm:pt>
    <dgm:pt modelId="{17C78172-0521-4F71-A436-4D6F21458BAA}" type="pres">
      <dgm:prSet presAssocID="{A424783C-52C0-4D66-8D26-9FD499F32C44}" presName="Name111" presStyleLbl="parChTrans1D3" presStyleIdx="4" presStyleCnt="6"/>
      <dgm:spPr/>
    </dgm:pt>
    <dgm:pt modelId="{170B9EF9-A6DF-4928-8507-E757D68F35F3}" type="pres">
      <dgm:prSet presAssocID="{C21FC8D3-9ABC-4B2C-A7E9-B7566A75B5F2}" presName="hierRoot3" presStyleCnt="0">
        <dgm:presLayoutVars>
          <dgm:hierBranch val="init"/>
        </dgm:presLayoutVars>
      </dgm:prSet>
      <dgm:spPr/>
    </dgm:pt>
    <dgm:pt modelId="{DB31A340-B669-4C40-8DD5-DC9C4051260C}" type="pres">
      <dgm:prSet presAssocID="{C21FC8D3-9ABC-4B2C-A7E9-B7566A75B5F2}" presName="rootComposite3" presStyleCnt="0"/>
      <dgm:spPr/>
    </dgm:pt>
    <dgm:pt modelId="{D294F242-779C-46A4-9C8E-7FA9D5A52180}" type="pres">
      <dgm:prSet presAssocID="{C21FC8D3-9ABC-4B2C-A7E9-B7566A75B5F2}" presName="rootText3" presStyleLbl="asst1" presStyleIdx="10" presStyleCnt="12" custLinFactX="-30048" custLinFactY="100187" custLinFactNeighborX="-100000" custLinFactNeighborY="200000">
        <dgm:presLayoutVars>
          <dgm:chPref val="3"/>
        </dgm:presLayoutVars>
      </dgm:prSet>
      <dgm:spPr/>
    </dgm:pt>
    <dgm:pt modelId="{5C6CDE0E-A9B6-4F23-9882-FE82B7A15B9E}" type="pres">
      <dgm:prSet presAssocID="{C21FC8D3-9ABC-4B2C-A7E9-B7566A75B5F2}" presName="rootConnector3" presStyleLbl="asst1" presStyleIdx="10" presStyleCnt="12"/>
      <dgm:spPr/>
    </dgm:pt>
    <dgm:pt modelId="{4549B08A-EB2B-474A-9C8F-352E49CC7C42}" type="pres">
      <dgm:prSet presAssocID="{C21FC8D3-9ABC-4B2C-A7E9-B7566A75B5F2}" presName="hierChild6" presStyleCnt="0"/>
      <dgm:spPr/>
    </dgm:pt>
    <dgm:pt modelId="{7F8748F4-9EA0-43DA-97E7-F0A210C006CA}" type="pres">
      <dgm:prSet presAssocID="{C21FC8D3-9ABC-4B2C-A7E9-B7566A75B5F2}" presName="hierChild7" presStyleCnt="0"/>
      <dgm:spPr/>
    </dgm:pt>
    <dgm:pt modelId="{A3047A90-82D2-4045-A00D-3E0EB420B051}" type="pres">
      <dgm:prSet presAssocID="{A55135FF-2026-4B1A-8124-D3C15E0871D5}" presName="Name111" presStyleLbl="parChTrans1D3" presStyleIdx="5" presStyleCnt="6"/>
      <dgm:spPr/>
    </dgm:pt>
    <dgm:pt modelId="{14215E4D-75A6-401F-BAD7-1913AEF7DCBB}" type="pres">
      <dgm:prSet presAssocID="{1A432222-B25E-435C-AFEB-DC552E6CB320}" presName="hierRoot3" presStyleCnt="0">
        <dgm:presLayoutVars>
          <dgm:hierBranch val="init"/>
        </dgm:presLayoutVars>
      </dgm:prSet>
      <dgm:spPr/>
    </dgm:pt>
    <dgm:pt modelId="{B89CB877-581A-43B3-A237-DFF5133181D9}" type="pres">
      <dgm:prSet presAssocID="{1A432222-B25E-435C-AFEB-DC552E6CB320}" presName="rootComposite3" presStyleCnt="0"/>
      <dgm:spPr/>
    </dgm:pt>
    <dgm:pt modelId="{F494799A-806A-4EA8-A649-4C228AB5037C}" type="pres">
      <dgm:prSet presAssocID="{1A432222-B25E-435C-AFEB-DC552E6CB320}" presName="rootText3" presStyleLbl="asst1" presStyleIdx="11" presStyleCnt="12" custLinFactY="-34983" custLinFactNeighborX="83690" custLinFactNeighborY="-100000">
        <dgm:presLayoutVars>
          <dgm:chPref val="3"/>
        </dgm:presLayoutVars>
      </dgm:prSet>
      <dgm:spPr/>
    </dgm:pt>
    <dgm:pt modelId="{E9F79DE9-380B-4F59-8E66-CCDC8AFEAABE}" type="pres">
      <dgm:prSet presAssocID="{1A432222-B25E-435C-AFEB-DC552E6CB320}" presName="rootConnector3" presStyleLbl="asst1" presStyleIdx="11" presStyleCnt="12"/>
      <dgm:spPr/>
    </dgm:pt>
    <dgm:pt modelId="{6C4295AA-C829-47F4-9D78-C803D37ACB48}" type="pres">
      <dgm:prSet presAssocID="{1A432222-B25E-435C-AFEB-DC552E6CB320}" presName="hierChild6" presStyleCnt="0"/>
      <dgm:spPr/>
    </dgm:pt>
    <dgm:pt modelId="{E1551E81-E304-4B72-A93B-98B9DECAC12F}" type="pres">
      <dgm:prSet presAssocID="{1A432222-B25E-435C-AFEB-DC552E6CB320}" presName="hierChild7" presStyleCnt="0"/>
      <dgm:spPr/>
    </dgm:pt>
  </dgm:ptLst>
  <dgm:cxnLst>
    <dgm:cxn modelId="{2FB92A03-93A5-49F6-9EFE-E81C77C1F6BA}" type="presOf" srcId="{C7BA087C-A227-4B1D-8EA7-A02E76FFA65B}" destId="{4C747FC2-0264-44D7-9D4A-A4CC0D9BF616}" srcOrd="1" destOrd="0" presId="urn:microsoft.com/office/officeart/2005/8/layout/orgChart1"/>
    <dgm:cxn modelId="{9DBD5210-5C49-4AF6-9ECD-F830148C146B}" type="presOf" srcId="{2276208A-9598-4101-965E-6C6F95D17C28}" destId="{79B0B234-399C-45A8-8406-6D32F178E2CD}" srcOrd="0" destOrd="0" presId="urn:microsoft.com/office/officeart/2005/8/layout/orgChart1"/>
    <dgm:cxn modelId="{33CBB111-364A-4CEB-A098-B0942391A28C}" type="presOf" srcId="{A55135FF-2026-4B1A-8124-D3C15E0871D5}" destId="{A3047A90-82D2-4045-A00D-3E0EB420B051}" srcOrd="0" destOrd="0" presId="urn:microsoft.com/office/officeart/2005/8/layout/orgChart1"/>
    <dgm:cxn modelId="{8B389513-83EB-42FE-ABA2-9BF5BAC09B43}" type="presOf" srcId="{620A09C6-DCEA-4145-978A-437E73085B21}" destId="{6969C14A-8300-4CA7-8653-D8F169AE1885}" srcOrd="0" destOrd="0" presId="urn:microsoft.com/office/officeart/2005/8/layout/orgChart1"/>
    <dgm:cxn modelId="{03442214-007F-485C-BBBA-EA7D9ECE9396}" type="presOf" srcId="{AF91275A-1248-4870-8136-9A9839989FDE}" destId="{1DCB7A5A-0D9A-43D7-9849-A0EB0BC9BA6C}" srcOrd="1" destOrd="0" presId="urn:microsoft.com/office/officeart/2005/8/layout/orgChart1"/>
    <dgm:cxn modelId="{BD6BD120-C0D0-4462-B091-1CD8B070D06A}" type="presOf" srcId="{A7EC3487-A0B4-4977-A71B-51399FCF813F}" destId="{84F051F8-63C6-43AC-8489-FDE6A6FF7312}" srcOrd="0" destOrd="0" presId="urn:microsoft.com/office/officeart/2005/8/layout/orgChart1"/>
    <dgm:cxn modelId="{213FD627-54E2-462C-A217-C43998890182}" type="presOf" srcId="{35AF1BF8-4363-45F5-9520-54484C46604A}" destId="{0E3BEBDD-F70A-4502-9AB1-CDBE07F74B8D}" srcOrd="0" destOrd="0" presId="urn:microsoft.com/office/officeart/2005/8/layout/orgChart1"/>
    <dgm:cxn modelId="{7E58982A-C260-4902-8226-D4141C7D26CC}" type="presOf" srcId="{D82DC71B-74FC-4127-84A0-DD727200C5E4}" destId="{037B1E98-25CB-403A-8E25-7800726D11E8}" srcOrd="0" destOrd="0" presId="urn:microsoft.com/office/officeart/2005/8/layout/orgChart1"/>
    <dgm:cxn modelId="{C7ECC133-230E-46C6-8964-EBDDF18214BE}" type="presOf" srcId="{F96C4924-522C-4341-86F6-D8158291AA89}" destId="{C8F076B0-720B-4F83-9942-DB436B0E27E0}" srcOrd="0" destOrd="0" presId="urn:microsoft.com/office/officeart/2005/8/layout/orgChart1"/>
    <dgm:cxn modelId="{99086934-541B-4E4D-875D-83ED8FA77919}" type="presOf" srcId="{C2B2031A-647D-4BA5-A40F-3794CDFA1976}" destId="{7C8A914E-16C8-4A5A-8A97-A7E12F41B2D6}" srcOrd="0" destOrd="0" presId="urn:microsoft.com/office/officeart/2005/8/layout/orgChart1"/>
    <dgm:cxn modelId="{2EE2A436-4DDE-48B0-9946-C0882C9C5DA0}" type="presOf" srcId="{A424783C-52C0-4D66-8D26-9FD499F32C44}" destId="{17C78172-0521-4F71-A436-4D6F21458BAA}" srcOrd="0" destOrd="0" presId="urn:microsoft.com/office/officeart/2005/8/layout/orgChart1"/>
    <dgm:cxn modelId="{02CD993E-CA37-427A-B052-F50623B50506}" type="presOf" srcId="{620A09C6-DCEA-4145-978A-437E73085B21}" destId="{E8BD79CE-FC66-411E-938D-CA8DC47673C7}" srcOrd="1" destOrd="0" presId="urn:microsoft.com/office/officeart/2005/8/layout/orgChart1"/>
    <dgm:cxn modelId="{7F5E793F-1248-4D7C-A63D-098B20AB531D}" type="presOf" srcId="{C7BA087C-A227-4B1D-8EA7-A02E76FFA65B}" destId="{0A9225AF-8C2A-4525-9B21-BFFCB32EC877}" srcOrd="0" destOrd="0" presId="urn:microsoft.com/office/officeart/2005/8/layout/orgChart1"/>
    <dgm:cxn modelId="{A13F9C5F-AABC-4039-9936-262915018ABF}" srcId="{8FE12375-57BB-4FAA-861C-411E6E875DB3}" destId="{23C14D81-1693-4858-AB69-B946F12349A8}" srcOrd="0" destOrd="0" parTransId="{D82DC71B-74FC-4127-84A0-DD727200C5E4}" sibTransId="{1D5A84C6-0D88-470C-9B7A-938326DC5AFA}"/>
    <dgm:cxn modelId="{99B1F541-4DA1-4DAD-B972-BA97C9564F3D}" type="presOf" srcId="{9BFD3262-42A5-4A70-B56F-8A44F1CF33E4}" destId="{4FB8521A-D98D-45BB-91DB-062C786F6A96}" srcOrd="1" destOrd="0" presId="urn:microsoft.com/office/officeart/2005/8/layout/orgChart1"/>
    <dgm:cxn modelId="{9ADBB643-20BE-47AE-BE02-F32A185A9DF4}" type="presOf" srcId="{C21FC8D3-9ABC-4B2C-A7E9-B7566A75B5F2}" destId="{5C6CDE0E-A9B6-4F23-9882-FE82B7A15B9E}" srcOrd="1" destOrd="0" presId="urn:microsoft.com/office/officeart/2005/8/layout/orgChart1"/>
    <dgm:cxn modelId="{E675D763-C7F6-4CF1-991F-31C753B030FC}" srcId="{2B9CBFA3-5A3D-4F35-B362-6F81B52EF7FD}" destId="{8FE12375-57BB-4FAA-861C-411E6E875DB3}" srcOrd="0" destOrd="0" parTransId="{EDBC2003-FFA0-460B-9BB7-9F9686ED8400}" sibTransId="{2DDFFD46-F3FC-467C-A1FA-C94B57C6F6E4}"/>
    <dgm:cxn modelId="{3C60F343-10F0-4E07-886D-781FFE0E87E9}" type="presOf" srcId="{1488D9C1-6335-4012-A552-6387165E942E}" destId="{EA216A1A-D0FC-4EBA-84D8-0EC2D101572D}" srcOrd="0" destOrd="0" presId="urn:microsoft.com/office/officeart/2005/8/layout/orgChart1"/>
    <dgm:cxn modelId="{211EEB64-853C-4AEA-9736-56A2A135FC09}" type="presOf" srcId="{C81FCD83-477D-4DC3-92DC-69D61BC3B331}" destId="{65586556-0080-40A2-861D-F5C41C329A1A}" srcOrd="0" destOrd="0" presId="urn:microsoft.com/office/officeart/2005/8/layout/orgChart1"/>
    <dgm:cxn modelId="{68DC0368-8A50-428A-8D40-7B1B526B74CD}" type="presOf" srcId="{C21FC8D3-9ABC-4B2C-A7E9-B7566A75B5F2}" destId="{D294F242-779C-46A4-9C8E-7FA9D5A52180}" srcOrd="0" destOrd="0" presId="urn:microsoft.com/office/officeart/2005/8/layout/orgChart1"/>
    <dgm:cxn modelId="{50132F69-3145-4D28-A764-81E9EA897494}" srcId="{620A09C6-DCEA-4145-978A-437E73085B21}" destId="{C21FC8D3-9ABC-4B2C-A7E9-B7566A75B5F2}" srcOrd="1" destOrd="0" parTransId="{A424783C-52C0-4D66-8D26-9FD499F32C44}" sibTransId="{9F546DAC-1DC7-4B4C-84F9-9A7E2903BE28}"/>
    <dgm:cxn modelId="{4E502450-E87E-4F70-A9E1-3B099C73E68E}" type="presOf" srcId="{8FE12375-57BB-4FAA-861C-411E6E875DB3}" destId="{AC623352-B711-4A54-9FEB-A609B3A2B56F}" srcOrd="0" destOrd="0" presId="urn:microsoft.com/office/officeart/2005/8/layout/orgChart1"/>
    <dgm:cxn modelId="{95306F51-FF4D-4253-9AC0-DF824D1A6608}" type="presOf" srcId="{8FE12375-57BB-4FAA-861C-411E6E875DB3}" destId="{2945E4B6-ECA1-4419-A4D0-536AD997E989}" srcOrd="1" destOrd="0" presId="urn:microsoft.com/office/officeart/2005/8/layout/orgChart1"/>
    <dgm:cxn modelId="{1D625C52-0439-4132-AEAE-CD7AD580A46A}" type="presOf" srcId="{56EE63DE-8C64-4952-A88E-7907E6260216}" destId="{218A1248-ADD0-433A-BA64-96F15A5FC96F}" srcOrd="0" destOrd="0" presId="urn:microsoft.com/office/officeart/2005/8/layout/orgChart1"/>
    <dgm:cxn modelId="{1B2C0076-7739-4E4C-AE26-9AAF5275685E}" type="presOf" srcId="{505A5C14-01D9-46D8-B42E-EF00075F5A10}" destId="{7A20EE9F-D4B5-4FA4-BE7A-2FF9DDA88AEB}" srcOrd="0" destOrd="0" presId="urn:microsoft.com/office/officeart/2005/8/layout/orgChart1"/>
    <dgm:cxn modelId="{F7A66980-38C5-471A-BCB3-5E21959ADF2E}" type="presOf" srcId="{9BFD3262-42A5-4A70-B56F-8A44F1CF33E4}" destId="{4ECA33AE-0F92-4715-99E9-29D7AB003517}" srcOrd="0" destOrd="0" presId="urn:microsoft.com/office/officeart/2005/8/layout/orgChart1"/>
    <dgm:cxn modelId="{06F04383-DF82-4B51-B28C-C06580868668}" type="presOf" srcId="{52BDE069-A88F-4AFA-9E4D-D9A6E1B61B3B}" destId="{58215910-66C9-4467-B345-791D4E512EE0}" srcOrd="0" destOrd="0" presId="urn:microsoft.com/office/officeart/2005/8/layout/orgChart1"/>
    <dgm:cxn modelId="{8A0DED85-27C9-4B09-8613-E8BCF907EF62}" type="presOf" srcId="{AF91275A-1248-4870-8136-9A9839989FDE}" destId="{60DBEC69-7706-4677-85A4-044E54B9E8C4}" srcOrd="0" destOrd="0" presId="urn:microsoft.com/office/officeart/2005/8/layout/orgChart1"/>
    <dgm:cxn modelId="{F89DF085-DE18-4250-90C2-BE879E307C20}" srcId="{620A09C6-DCEA-4145-978A-437E73085B21}" destId="{C2B2031A-647D-4BA5-A40F-3794CDFA1976}" srcOrd="0" destOrd="0" parTransId="{A65EF5CE-5436-41FC-8994-85BBB5381159}" sibTransId="{A64D1F54-26A8-4CEC-9F5F-A044CBA652CE}"/>
    <dgm:cxn modelId="{DD3C8288-0087-49C6-AEB5-498FFDC8F3B1}" type="presOf" srcId="{17E46A86-529F-4852-8AC0-8BD507FB6D29}" destId="{BC9FA306-396F-43CA-A87E-04876AFDBF0C}" srcOrd="0" destOrd="0" presId="urn:microsoft.com/office/officeart/2005/8/layout/orgChart1"/>
    <dgm:cxn modelId="{434BBC8C-66B8-4567-82CA-02625E14EBC0}" srcId="{23C14D81-1693-4858-AB69-B946F12349A8}" destId="{3F28F199-9CC5-404B-8A1A-07050D0159CC}" srcOrd="1" destOrd="0" parTransId="{A7EC3487-A0B4-4977-A71B-51399FCF813F}" sibTransId="{FDE74DD5-7EFC-43CE-AF50-8E55F3ECB12E}"/>
    <dgm:cxn modelId="{26525095-6E20-4A37-9BEE-2DB24271567F}" type="presOf" srcId="{3F28F199-9CC5-404B-8A1A-07050D0159CC}" destId="{998360FF-01E2-464F-B073-DC4B1C4EE534}" srcOrd="0" destOrd="0" presId="urn:microsoft.com/office/officeart/2005/8/layout/orgChart1"/>
    <dgm:cxn modelId="{53964097-846F-47F4-8B0F-565C8C41FC43}" srcId="{8FE12375-57BB-4FAA-861C-411E6E875DB3}" destId="{620A09C6-DCEA-4145-978A-437E73085B21}" srcOrd="1" destOrd="0" parTransId="{2276208A-9598-4101-965E-6C6F95D17C28}" sibTransId="{6A0E8038-D621-4113-8E83-DDAE6511C147}"/>
    <dgm:cxn modelId="{43FFA498-B89E-4EE3-9309-955B44D3DCAC}" srcId="{9BFD3262-42A5-4A70-B56F-8A44F1CF33E4}" destId="{AF91275A-1248-4870-8136-9A9839989FDE}" srcOrd="0" destOrd="0" parTransId="{1488D9C1-6335-4012-A552-6387165E942E}" sibTransId="{307596B0-E6C6-4DB7-8298-E2A468B52A5F}"/>
    <dgm:cxn modelId="{A59C2DA1-7A92-4226-A3FF-6DC0C3E50A29}" type="presOf" srcId="{7A98A00E-2B62-4903-9144-EC840D8E7833}" destId="{136D11A5-F616-4B06-A50F-4BD89587DB3C}" srcOrd="0" destOrd="0" presId="urn:microsoft.com/office/officeart/2005/8/layout/orgChart1"/>
    <dgm:cxn modelId="{73BB5CA3-F696-4645-99C6-6FE9ACA62EA9}" srcId="{C2B2031A-647D-4BA5-A40F-3794CDFA1976}" destId="{17E46A86-529F-4852-8AC0-8BD507FB6D29}" srcOrd="0" destOrd="0" parTransId="{F96C4924-522C-4341-86F6-D8158291AA89}" sibTransId="{01B04AA5-52E5-42FE-97E8-204F1B27B71F}"/>
    <dgm:cxn modelId="{8B8CA3A4-1659-48DE-88B9-C61B28108A3C}" type="presOf" srcId="{C81FCD83-477D-4DC3-92DC-69D61BC3B331}" destId="{B5D67259-1C6B-4AEB-93EB-CAA088F96DE0}" srcOrd="1" destOrd="0" presId="urn:microsoft.com/office/officeart/2005/8/layout/orgChart1"/>
    <dgm:cxn modelId="{D7B834A5-E300-49FC-9E53-C856594FE460}" type="presOf" srcId="{23C14D81-1693-4858-AB69-B946F12349A8}" destId="{958A44B2-DA7D-4EA1-9391-88536194DCC0}" srcOrd="1" destOrd="0" presId="urn:microsoft.com/office/officeart/2005/8/layout/orgChart1"/>
    <dgm:cxn modelId="{4FC1A1A5-25B9-4769-A856-5307917DE0AA}" type="presOf" srcId="{2B9CBFA3-5A3D-4F35-B362-6F81B52EF7FD}" destId="{2D14A526-4DA5-4FE5-A2D7-34E459C38F4B}" srcOrd="0" destOrd="0" presId="urn:microsoft.com/office/officeart/2005/8/layout/orgChart1"/>
    <dgm:cxn modelId="{75BD04AB-568F-455A-B4D4-A1FD3B5F6BCC}" srcId="{C2B2031A-647D-4BA5-A40F-3794CDFA1976}" destId="{52BDE069-A88F-4AFA-9E4D-D9A6E1B61B3B}" srcOrd="1" destOrd="0" parTransId="{505A5C14-01D9-46D8-B42E-EF00075F5A10}" sibTransId="{481965E7-0236-41A9-AAC6-E3108BB74A5C}"/>
    <dgm:cxn modelId="{BD4C7BAC-FFA5-4428-9D3B-F28B5DEFCDFB}" type="presOf" srcId="{17E46A86-529F-4852-8AC0-8BD507FB6D29}" destId="{095CEE65-7D1F-48CC-9AEE-DC4699B2124E}" srcOrd="1" destOrd="0" presId="urn:microsoft.com/office/officeart/2005/8/layout/orgChart1"/>
    <dgm:cxn modelId="{1433A8B4-C354-4B71-A148-EE3082621BC7}" type="presOf" srcId="{23C14D81-1693-4858-AB69-B946F12349A8}" destId="{86D1CDCE-BEAC-4F79-969F-6B844A76B303}" srcOrd="0" destOrd="0" presId="urn:microsoft.com/office/officeart/2005/8/layout/orgChart1"/>
    <dgm:cxn modelId="{E363FBB5-D75E-483E-98B2-FABE61C9BBD2}" srcId="{23C14D81-1693-4858-AB69-B946F12349A8}" destId="{9BFD3262-42A5-4A70-B56F-8A44F1CF33E4}" srcOrd="0" destOrd="0" parTransId="{56EE63DE-8C64-4952-A88E-7907E6260216}" sibTransId="{AD6C78D2-FC78-48C9-A0EB-13F62FE32E08}"/>
    <dgm:cxn modelId="{3AF222BC-E7FD-42F5-85D4-82A728F6B89C}" type="presOf" srcId="{1A432222-B25E-435C-AFEB-DC552E6CB320}" destId="{E9F79DE9-380B-4F59-8E66-CCDC8AFEAABE}" srcOrd="1" destOrd="0" presId="urn:microsoft.com/office/officeart/2005/8/layout/orgChart1"/>
    <dgm:cxn modelId="{AA63D7CB-6CB6-498F-A13D-DB2C12E019C2}" type="presOf" srcId="{3F28F199-9CC5-404B-8A1A-07050D0159CC}" destId="{79B64CE5-646C-4C83-9FCB-03AB6C63C7B5}" srcOrd="1" destOrd="0" presId="urn:microsoft.com/office/officeart/2005/8/layout/orgChart1"/>
    <dgm:cxn modelId="{07317ACD-3BE2-4053-8DAC-69C8AF0E965E}" srcId="{23C14D81-1693-4858-AB69-B946F12349A8}" destId="{C81FCD83-477D-4DC3-92DC-69D61BC3B331}" srcOrd="2" destOrd="0" parTransId="{7A98A00E-2B62-4903-9144-EC840D8E7833}" sibTransId="{3123066C-5E3A-4B19-A984-F7750CE6F6AD}"/>
    <dgm:cxn modelId="{91E023CF-213A-49AC-A4F0-1CEC18CD3869}" type="presOf" srcId="{1A432222-B25E-435C-AFEB-DC552E6CB320}" destId="{F494799A-806A-4EA8-A649-4C228AB5037C}" srcOrd="0" destOrd="0" presId="urn:microsoft.com/office/officeart/2005/8/layout/orgChart1"/>
    <dgm:cxn modelId="{D465E0CF-3E61-4646-85AA-4563E4F44029}" srcId="{9BFD3262-42A5-4A70-B56F-8A44F1CF33E4}" destId="{C7BA087C-A227-4B1D-8EA7-A02E76FFA65B}" srcOrd="1" destOrd="0" parTransId="{35AF1BF8-4363-45F5-9520-54484C46604A}" sibTransId="{77DF4454-D2AC-422C-8EE8-8218D52D7DFF}"/>
    <dgm:cxn modelId="{410A34DA-0478-4381-91FC-3C1692BB8E08}" type="presOf" srcId="{52BDE069-A88F-4AFA-9E4D-D9A6E1B61B3B}" destId="{8ECB9160-A695-4EA2-8D02-5E47388A88AC}" srcOrd="1" destOrd="0" presId="urn:microsoft.com/office/officeart/2005/8/layout/orgChart1"/>
    <dgm:cxn modelId="{DCF100E1-515A-48E1-B07A-6388236C9BA3}" type="presOf" srcId="{C2B2031A-647D-4BA5-A40F-3794CDFA1976}" destId="{12C13BB3-8AF5-4BD0-B7A1-39FF59DEC821}" srcOrd="1" destOrd="0" presId="urn:microsoft.com/office/officeart/2005/8/layout/orgChart1"/>
    <dgm:cxn modelId="{0D6ED9E1-16A0-4369-9113-81554E3A55AD}" srcId="{620A09C6-DCEA-4145-978A-437E73085B21}" destId="{1A432222-B25E-435C-AFEB-DC552E6CB320}" srcOrd="2" destOrd="0" parTransId="{A55135FF-2026-4B1A-8124-D3C15E0871D5}" sibTransId="{286D7233-FB91-4596-B279-5DC4979CF718}"/>
    <dgm:cxn modelId="{F71F60F0-AFD2-4B1D-B40A-2BAB9C8687AA}" type="presOf" srcId="{A65EF5CE-5436-41FC-8994-85BBB5381159}" destId="{58E26365-3C11-44DB-9FC7-CBCD621C06D6}" srcOrd="0" destOrd="0" presId="urn:microsoft.com/office/officeart/2005/8/layout/orgChart1"/>
    <dgm:cxn modelId="{959826EA-8B90-494B-B7DA-41A20AE96F93}" type="presParOf" srcId="{2D14A526-4DA5-4FE5-A2D7-34E459C38F4B}" destId="{DE158A8A-F953-4DAF-9256-14CE3003AD89}" srcOrd="0" destOrd="0" presId="urn:microsoft.com/office/officeart/2005/8/layout/orgChart1"/>
    <dgm:cxn modelId="{96723700-ACAA-4666-BDF8-2C30CCE32E13}" type="presParOf" srcId="{DE158A8A-F953-4DAF-9256-14CE3003AD89}" destId="{6968EA08-365B-41CA-A74F-C568AE7A5EC4}" srcOrd="0" destOrd="0" presId="urn:microsoft.com/office/officeart/2005/8/layout/orgChart1"/>
    <dgm:cxn modelId="{519EF234-9413-4A44-AC72-D567BF22CB2F}" type="presParOf" srcId="{6968EA08-365B-41CA-A74F-C568AE7A5EC4}" destId="{AC623352-B711-4A54-9FEB-A609B3A2B56F}" srcOrd="0" destOrd="0" presId="urn:microsoft.com/office/officeart/2005/8/layout/orgChart1"/>
    <dgm:cxn modelId="{4EED1251-A439-4920-BD65-54B3329E0298}" type="presParOf" srcId="{6968EA08-365B-41CA-A74F-C568AE7A5EC4}" destId="{2945E4B6-ECA1-4419-A4D0-536AD997E989}" srcOrd="1" destOrd="0" presId="urn:microsoft.com/office/officeart/2005/8/layout/orgChart1"/>
    <dgm:cxn modelId="{54807B22-3219-4C2C-9E22-8308CF4C8899}" type="presParOf" srcId="{DE158A8A-F953-4DAF-9256-14CE3003AD89}" destId="{6CDE2B3E-A926-4BB7-A01B-064C99D62E53}" srcOrd="1" destOrd="0" presId="urn:microsoft.com/office/officeart/2005/8/layout/orgChart1"/>
    <dgm:cxn modelId="{3D9F224E-EB01-4F53-B794-3AE770F9051C}" type="presParOf" srcId="{DE158A8A-F953-4DAF-9256-14CE3003AD89}" destId="{F2C750FA-FEA7-4D58-A18F-959CCF486537}" srcOrd="2" destOrd="0" presId="urn:microsoft.com/office/officeart/2005/8/layout/orgChart1"/>
    <dgm:cxn modelId="{F576AAA0-FBA9-49F7-8E66-4ED859E79FB2}" type="presParOf" srcId="{F2C750FA-FEA7-4D58-A18F-959CCF486537}" destId="{037B1E98-25CB-403A-8E25-7800726D11E8}" srcOrd="0" destOrd="0" presId="urn:microsoft.com/office/officeart/2005/8/layout/orgChart1"/>
    <dgm:cxn modelId="{81AE3C49-8324-4B97-80E0-257BACFEC362}" type="presParOf" srcId="{F2C750FA-FEA7-4D58-A18F-959CCF486537}" destId="{7DBB176E-B930-41A9-BF9F-369525B850FA}" srcOrd="1" destOrd="0" presId="urn:microsoft.com/office/officeart/2005/8/layout/orgChart1"/>
    <dgm:cxn modelId="{DE408755-3EFA-4EE8-8298-75EE78157E1B}" type="presParOf" srcId="{7DBB176E-B930-41A9-BF9F-369525B850FA}" destId="{E5ACE25A-00D9-4038-923A-FD5A81F9B119}" srcOrd="0" destOrd="0" presId="urn:microsoft.com/office/officeart/2005/8/layout/orgChart1"/>
    <dgm:cxn modelId="{CD9D49C7-AFD2-4303-A19F-31766D512F5F}" type="presParOf" srcId="{E5ACE25A-00D9-4038-923A-FD5A81F9B119}" destId="{86D1CDCE-BEAC-4F79-969F-6B844A76B303}" srcOrd="0" destOrd="0" presId="urn:microsoft.com/office/officeart/2005/8/layout/orgChart1"/>
    <dgm:cxn modelId="{C6321C85-4DFF-4AAE-8EA6-23EF20508283}" type="presParOf" srcId="{E5ACE25A-00D9-4038-923A-FD5A81F9B119}" destId="{958A44B2-DA7D-4EA1-9391-88536194DCC0}" srcOrd="1" destOrd="0" presId="urn:microsoft.com/office/officeart/2005/8/layout/orgChart1"/>
    <dgm:cxn modelId="{47977A87-C58D-4315-85A3-7F6C8546C3F8}" type="presParOf" srcId="{7DBB176E-B930-41A9-BF9F-369525B850FA}" destId="{23E48EA1-3C81-4515-AB52-A03B9BA211C2}" srcOrd="1" destOrd="0" presId="urn:microsoft.com/office/officeart/2005/8/layout/orgChart1"/>
    <dgm:cxn modelId="{6618B9FB-F025-4B90-A515-45568A228BD0}" type="presParOf" srcId="{7DBB176E-B930-41A9-BF9F-369525B850FA}" destId="{ECF51478-EF9A-47F3-8197-41DE2C10676E}" srcOrd="2" destOrd="0" presId="urn:microsoft.com/office/officeart/2005/8/layout/orgChart1"/>
    <dgm:cxn modelId="{1F1F6EBF-B013-453D-BBBE-88CED51450E0}" type="presParOf" srcId="{ECF51478-EF9A-47F3-8197-41DE2C10676E}" destId="{218A1248-ADD0-433A-BA64-96F15A5FC96F}" srcOrd="0" destOrd="0" presId="urn:microsoft.com/office/officeart/2005/8/layout/orgChart1"/>
    <dgm:cxn modelId="{005699EB-B8AF-4F94-B45A-812BDAB8675E}" type="presParOf" srcId="{ECF51478-EF9A-47F3-8197-41DE2C10676E}" destId="{176554D9-1397-4E74-922E-AA0ED7385973}" srcOrd="1" destOrd="0" presId="urn:microsoft.com/office/officeart/2005/8/layout/orgChart1"/>
    <dgm:cxn modelId="{37684917-F093-49BF-919F-A677B2134448}" type="presParOf" srcId="{176554D9-1397-4E74-922E-AA0ED7385973}" destId="{18B57D7B-87A3-4666-BDA4-CA0289FBBE76}" srcOrd="0" destOrd="0" presId="urn:microsoft.com/office/officeart/2005/8/layout/orgChart1"/>
    <dgm:cxn modelId="{5570F7B0-8812-4D0E-BC47-23859C2D68CA}" type="presParOf" srcId="{18B57D7B-87A3-4666-BDA4-CA0289FBBE76}" destId="{4ECA33AE-0F92-4715-99E9-29D7AB003517}" srcOrd="0" destOrd="0" presId="urn:microsoft.com/office/officeart/2005/8/layout/orgChart1"/>
    <dgm:cxn modelId="{358DE6B9-72D8-4931-823C-A48AD314AB33}" type="presParOf" srcId="{18B57D7B-87A3-4666-BDA4-CA0289FBBE76}" destId="{4FB8521A-D98D-45BB-91DB-062C786F6A96}" srcOrd="1" destOrd="0" presId="urn:microsoft.com/office/officeart/2005/8/layout/orgChart1"/>
    <dgm:cxn modelId="{1D8EE77D-BEC8-4C24-845B-41420C6D765C}" type="presParOf" srcId="{176554D9-1397-4E74-922E-AA0ED7385973}" destId="{D110CC58-A291-4201-92C7-828BF2CD2193}" srcOrd="1" destOrd="0" presId="urn:microsoft.com/office/officeart/2005/8/layout/orgChart1"/>
    <dgm:cxn modelId="{FC57C688-F5C9-42C2-BCD1-1733DF46647F}" type="presParOf" srcId="{176554D9-1397-4E74-922E-AA0ED7385973}" destId="{DE773832-843A-4F70-866D-D71C2F1E95AE}" srcOrd="2" destOrd="0" presId="urn:microsoft.com/office/officeart/2005/8/layout/orgChart1"/>
    <dgm:cxn modelId="{DEAB7D74-B154-4941-90D7-EAC4B6BC51B8}" type="presParOf" srcId="{DE773832-843A-4F70-866D-D71C2F1E95AE}" destId="{EA216A1A-D0FC-4EBA-84D8-0EC2D101572D}" srcOrd="0" destOrd="0" presId="urn:microsoft.com/office/officeart/2005/8/layout/orgChart1"/>
    <dgm:cxn modelId="{D2E24C72-BB3B-4EA6-8881-C8AACC5BEC8E}" type="presParOf" srcId="{DE773832-843A-4F70-866D-D71C2F1E95AE}" destId="{3A61AD52-F940-47DD-BB03-819B850A5975}" srcOrd="1" destOrd="0" presId="urn:microsoft.com/office/officeart/2005/8/layout/orgChart1"/>
    <dgm:cxn modelId="{B90C4EF3-99C0-4B03-B2BB-A209D68CE8C0}" type="presParOf" srcId="{3A61AD52-F940-47DD-BB03-819B850A5975}" destId="{F0BC282D-7364-49E1-AD96-0DBA0DC4D9E1}" srcOrd="0" destOrd="0" presId="urn:microsoft.com/office/officeart/2005/8/layout/orgChart1"/>
    <dgm:cxn modelId="{E2076272-D2B4-4B32-B166-5922E3C60757}" type="presParOf" srcId="{F0BC282D-7364-49E1-AD96-0DBA0DC4D9E1}" destId="{60DBEC69-7706-4677-85A4-044E54B9E8C4}" srcOrd="0" destOrd="0" presId="urn:microsoft.com/office/officeart/2005/8/layout/orgChart1"/>
    <dgm:cxn modelId="{3AF58E85-9350-4123-801E-EB85BCE97773}" type="presParOf" srcId="{F0BC282D-7364-49E1-AD96-0DBA0DC4D9E1}" destId="{1DCB7A5A-0D9A-43D7-9849-A0EB0BC9BA6C}" srcOrd="1" destOrd="0" presId="urn:microsoft.com/office/officeart/2005/8/layout/orgChart1"/>
    <dgm:cxn modelId="{705208B1-0F27-43B2-94D2-9E4DAAE32123}" type="presParOf" srcId="{3A61AD52-F940-47DD-BB03-819B850A5975}" destId="{F68CDC88-3DC8-406B-BCB3-8BFF824EEFA7}" srcOrd="1" destOrd="0" presId="urn:microsoft.com/office/officeart/2005/8/layout/orgChart1"/>
    <dgm:cxn modelId="{25F784FE-4AAA-48B4-BF22-A32DB5A5675E}" type="presParOf" srcId="{3A61AD52-F940-47DD-BB03-819B850A5975}" destId="{04C09A04-E11B-4239-B953-F3BC2D5498CA}" srcOrd="2" destOrd="0" presId="urn:microsoft.com/office/officeart/2005/8/layout/orgChart1"/>
    <dgm:cxn modelId="{997D30A4-7DFC-4CE2-8D25-ACFD60D79BD1}" type="presParOf" srcId="{DE773832-843A-4F70-866D-D71C2F1E95AE}" destId="{0E3BEBDD-F70A-4502-9AB1-CDBE07F74B8D}" srcOrd="2" destOrd="0" presId="urn:microsoft.com/office/officeart/2005/8/layout/orgChart1"/>
    <dgm:cxn modelId="{5E7B3CBE-5056-45AD-908A-F1AECC4F4D84}" type="presParOf" srcId="{DE773832-843A-4F70-866D-D71C2F1E95AE}" destId="{685711CF-A3FB-4B5A-BEEB-4435F9A8271A}" srcOrd="3" destOrd="0" presId="urn:microsoft.com/office/officeart/2005/8/layout/orgChart1"/>
    <dgm:cxn modelId="{6044D9BD-3134-4DD2-8732-1AE6CA41D271}" type="presParOf" srcId="{685711CF-A3FB-4B5A-BEEB-4435F9A8271A}" destId="{615F3DB1-C45E-4A35-8D06-F20646DFE2C3}" srcOrd="0" destOrd="0" presId="urn:microsoft.com/office/officeart/2005/8/layout/orgChart1"/>
    <dgm:cxn modelId="{36E28DC8-E3B6-422E-8A10-35699062DFA9}" type="presParOf" srcId="{615F3DB1-C45E-4A35-8D06-F20646DFE2C3}" destId="{0A9225AF-8C2A-4525-9B21-BFFCB32EC877}" srcOrd="0" destOrd="0" presId="urn:microsoft.com/office/officeart/2005/8/layout/orgChart1"/>
    <dgm:cxn modelId="{A6D4A3E9-503C-4325-98FA-7D90CCD07E1B}" type="presParOf" srcId="{615F3DB1-C45E-4A35-8D06-F20646DFE2C3}" destId="{4C747FC2-0264-44D7-9D4A-A4CC0D9BF616}" srcOrd="1" destOrd="0" presId="urn:microsoft.com/office/officeart/2005/8/layout/orgChart1"/>
    <dgm:cxn modelId="{A08ED878-CDDF-4981-9949-5390B81E16D2}" type="presParOf" srcId="{685711CF-A3FB-4B5A-BEEB-4435F9A8271A}" destId="{0D64A06B-FA70-4BE2-9F10-14FA74F9776C}" srcOrd="1" destOrd="0" presId="urn:microsoft.com/office/officeart/2005/8/layout/orgChart1"/>
    <dgm:cxn modelId="{A9160BD7-FB04-42FA-8953-BD0FDAD1C45A}" type="presParOf" srcId="{685711CF-A3FB-4B5A-BEEB-4435F9A8271A}" destId="{AE6207FD-CE93-4C0F-8AC2-C0F8FA2FFE32}" srcOrd="2" destOrd="0" presId="urn:microsoft.com/office/officeart/2005/8/layout/orgChart1"/>
    <dgm:cxn modelId="{98499A30-BCB0-4C4B-AEC0-C0985AE0C04C}" type="presParOf" srcId="{ECF51478-EF9A-47F3-8197-41DE2C10676E}" destId="{84F051F8-63C6-43AC-8489-FDE6A6FF7312}" srcOrd="2" destOrd="0" presId="urn:microsoft.com/office/officeart/2005/8/layout/orgChart1"/>
    <dgm:cxn modelId="{44840B2B-63C1-484C-8C73-F266FE88AD50}" type="presParOf" srcId="{ECF51478-EF9A-47F3-8197-41DE2C10676E}" destId="{F34C9092-C60D-4AF6-90B8-DF106A3225BC}" srcOrd="3" destOrd="0" presId="urn:microsoft.com/office/officeart/2005/8/layout/orgChart1"/>
    <dgm:cxn modelId="{C41CCAC4-C262-41E4-BABB-CB4F59D9E6C1}" type="presParOf" srcId="{F34C9092-C60D-4AF6-90B8-DF106A3225BC}" destId="{6CE1CB50-3ED6-4C2C-99E1-6F7063287FBB}" srcOrd="0" destOrd="0" presId="urn:microsoft.com/office/officeart/2005/8/layout/orgChart1"/>
    <dgm:cxn modelId="{B468BD70-001E-4063-9B68-BFB6549A2D01}" type="presParOf" srcId="{6CE1CB50-3ED6-4C2C-99E1-6F7063287FBB}" destId="{998360FF-01E2-464F-B073-DC4B1C4EE534}" srcOrd="0" destOrd="0" presId="urn:microsoft.com/office/officeart/2005/8/layout/orgChart1"/>
    <dgm:cxn modelId="{5FB0A146-7376-4330-B16A-3233FA9ADFC9}" type="presParOf" srcId="{6CE1CB50-3ED6-4C2C-99E1-6F7063287FBB}" destId="{79B64CE5-646C-4C83-9FCB-03AB6C63C7B5}" srcOrd="1" destOrd="0" presId="urn:microsoft.com/office/officeart/2005/8/layout/orgChart1"/>
    <dgm:cxn modelId="{C4BEBCEC-99AA-48FF-8915-93831D42CBA1}" type="presParOf" srcId="{F34C9092-C60D-4AF6-90B8-DF106A3225BC}" destId="{89CCD6DB-1810-4A84-B867-B93465670658}" srcOrd="1" destOrd="0" presId="urn:microsoft.com/office/officeart/2005/8/layout/orgChart1"/>
    <dgm:cxn modelId="{BD95870D-1220-4AA4-BCBE-31277433DC03}" type="presParOf" srcId="{F34C9092-C60D-4AF6-90B8-DF106A3225BC}" destId="{EB74C256-AD30-4167-88F1-27AF544795BB}" srcOrd="2" destOrd="0" presId="urn:microsoft.com/office/officeart/2005/8/layout/orgChart1"/>
    <dgm:cxn modelId="{81C770B6-6236-44C2-8545-BEADB4F0E9C9}" type="presParOf" srcId="{ECF51478-EF9A-47F3-8197-41DE2C10676E}" destId="{136D11A5-F616-4B06-A50F-4BD89587DB3C}" srcOrd="4" destOrd="0" presId="urn:microsoft.com/office/officeart/2005/8/layout/orgChart1"/>
    <dgm:cxn modelId="{94DE3935-5A0E-4AE4-B7E8-F3F6750DD37F}" type="presParOf" srcId="{ECF51478-EF9A-47F3-8197-41DE2C10676E}" destId="{29949E37-6557-4A36-9ED4-A92351ED5AD4}" srcOrd="5" destOrd="0" presId="urn:microsoft.com/office/officeart/2005/8/layout/orgChart1"/>
    <dgm:cxn modelId="{4EFCB976-290F-4AB2-99F1-9FAC35A45AD5}" type="presParOf" srcId="{29949E37-6557-4A36-9ED4-A92351ED5AD4}" destId="{204C5E81-3FBB-41B3-90C0-62EF213E8D9A}" srcOrd="0" destOrd="0" presId="urn:microsoft.com/office/officeart/2005/8/layout/orgChart1"/>
    <dgm:cxn modelId="{453C6C93-C2FA-425C-A7C6-433DEB865D68}" type="presParOf" srcId="{204C5E81-3FBB-41B3-90C0-62EF213E8D9A}" destId="{65586556-0080-40A2-861D-F5C41C329A1A}" srcOrd="0" destOrd="0" presId="urn:microsoft.com/office/officeart/2005/8/layout/orgChart1"/>
    <dgm:cxn modelId="{1E34B950-C7DE-4C36-9FC2-4D92D611A050}" type="presParOf" srcId="{204C5E81-3FBB-41B3-90C0-62EF213E8D9A}" destId="{B5D67259-1C6B-4AEB-93EB-CAA088F96DE0}" srcOrd="1" destOrd="0" presId="urn:microsoft.com/office/officeart/2005/8/layout/orgChart1"/>
    <dgm:cxn modelId="{3BEFF9AD-9787-4CCF-AD76-3A889890F30B}" type="presParOf" srcId="{29949E37-6557-4A36-9ED4-A92351ED5AD4}" destId="{FB9DCEF8-5835-47F3-BA21-FE7D50B07499}" srcOrd="1" destOrd="0" presId="urn:microsoft.com/office/officeart/2005/8/layout/orgChart1"/>
    <dgm:cxn modelId="{EB7588E4-97FF-4702-A212-B81CD885F2DE}" type="presParOf" srcId="{29949E37-6557-4A36-9ED4-A92351ED5AD4}" destId="{C9A41294-21F1-42C7-BEEB-C4DF2E827353}" srcOrd="2" destOrd="0" presId="urn:microsoft.com/office/officeart/2005/8/layout/orgChart1"/>
    <dgm:cxn modelId="{332E619D-7F3C-49DD-88CC-6F20D70607CE}" type="presParOf" srcId="{F2C750FA-FEA7-4D58-A18F-959CCF486537}" destId="{79B0B234-399C-45A8-8406-6D32F178E2CD}" srcOrd="2" destOrd="0" presId="urn:microsoft.com/office/officeart/2005/8/layout/orgChart1"/>
    <dgm:cxn modelId="{ED0AC396-400E-48EA-8DE2-274A95F66CDB}" type="presParOf" srcId="{F2C750FA-FEA7-4D58-A18F-959CCF486537}" destId="{4F7F5EA2-1328-4007-A981-D511CCE187FC}" srcOrd="3" destOrd="0" presId="urn:microsoft.com/office/officeart/2005/8/layout/orgChart1"/>
    <dgm:cxn modelId="{CD1F984A-88B8-43BE-91B4-74D258267B0B}" type="presParOf" srcId="{4F7F5EA2-1328-4007-A981-D511CCE187FC}" destId="{64827805-DBB4-476D-BC28-C26821C69A41}" srcOrd="0" destOrd="0" presId="urn:microsoft.com/office/officeart/2005/8/layout/orgChart1"/>
    <dgm:cxn modelId="{934C1D4E-5C05-4378-AA6C-D6FE526A8E3D}" type="presParOf" srcId="{64827805-DBB4-476D-BC28-C26821C69A41}" destId="{6969C14A-8300-4CA7-8653-D8F169AE1885}" srcOrd="0" destOrd="0" presId="urn:microsoft.com/office/officeart/2005/8/layout/orgChart1"/>
    <dgm:cxn modelId="{944E03E9-2D4E-45B4-9DB4-39D1D5AE1225}" type="presParOf" srcId="{64827805-DBB4-476D-BC28-C26821C69A41}" destId="{E8BD79CE-FC66-411E-938D-CA8DC47673C7}" srcOrd="1" destOrd="0" presId="urn:microsoft.com/office/officeart/2005/8/layout/orgChart1"/>
    <dgm:cxn modelId="{10E055BF-E49F-4D6A-B323-E6AFDA492261}" type="presParOf" srcId="{4F7F5EA2-1328-4007-A981-D511CCE187FC}" destId="{40547FB9-D9AF-40F3-81FE-799A97FF4729}" srcOrd="1" destOrd="0" presId="urn:microsoft.com/office/officeart/2005/8/layout/orgChart1"/>
    <dgm:cxn modelId="{E1AA72AA-B6F0-4CF7-BD27-390F45731760}" type="presParOf" srcId="{4F7F5EA2-1328-4007-A981-D511CCE187FC}" destId="{994B28C1-47A3-4941-B1BA-6A8CAEE6E99E}" srcOrd="2" destOrd="0" presId="urn:microsoft.com/office/officeart/2005/8/layout/orgChart1"/>
    <dgm:cxn modelId="{4ADC91D2-B5D0-4B35-A13B-8395AE343432}" type="presParOf" srcId="{994B28C1-47A3-4941-B1BA-6A8CAEE6E99E}" destId="{58E26365-3C11-44DB-9FC7-CBCD621C06D6}" srcOrd="0" destOrd="0" presId="urn:microsoft.com/office/officeart/2005/8/layout/orgChart1"/>
    <dgm:cxn modelId="{A0564FF3-154B-4456-831D-8FEB69C7E7C1}" type="presParOf" srcId="{994B28C1-47A3-4941-B1BA-6A8CAEE6E99E}" destId="{E63107BA-DF3C-4E20-B5B2-D3EEF6D925BA}" srcOrd="1" destOrd="0" presId="urn:microsoft.com/office/officeart/2005/8/layout/orgChart1"/>
    <dgm:cxn modelId="{948C6861-1CC2-4920-98C5-052D535DD56E}" type="presParOf" srcId="{E63107BA-DF3C-4E20-B5B2-D3EEF6D925BA}" destId="{95C8039C-097B-4F27-8923-A0B698E5AFC5}" srcOrd="0" destOrd="0" presId="urn:microsoft.com/office/officeart/2005/8/layout/orgChart1"/>
    <dgm:cxn modelId="{51615178-7E2C-4CB4-BD2A-C991E2F1917D}" type="presParOf" srcId="{95C8039C-097B-4F27-8923-A0B698E5AFC5}" destId="{7C8A914E-16C8-4A5A-8A97-A7E12F41B2D6}" srcOrd="0" destOrd="0" presId="urn:microsoft.com/office/officeart/2005/8/layout/orgChart1"/>
    <dgm:cxn modelId="{3447643B-A37F-4ABD-A70D-30FBF5CB774A}" type="presParOf" srcId="{95C8039C-097B-4F27-8923-A0B698E5AFC5}" destId="{12C13BB3-8AF5-4BD0-B7A1-39FF59DEC821}" srcOrd="1" destOrd="0" presId="urn:microsoft.com/office/officeart/2005/8/layout/orgChart1"/>
    <dgm:cxn modelId="{09557340-12A5-4345-9120-955C4CE4CB77}" type="presParOf" srcId="{E63107BA-DF3C-4E20-B5B2-D3EEF6D925BA}" destId="{D8BE217D-4E99-4DB7-8ADE-65A987635E23}" srcOrd="1" destOrd="0" presId="urn:microsoft.com/office/officeart/2005/8/layout/orgChart1"/>
    <dgm:cxn modelId="{3E4D1DF7-5B7E-4EF4-AC84-4A708A97624A}" type="presParOf" srcId="{E63107BA-DF3C-4E20-B5B2-D3EEF6D925BA}" destId="{CEA2F8EC-5A3A-498A-9DC8-4124D8671C00}" srcOrd="2" destOrd="0" presId="urn:microsoft.com/office/officeart/2005/8/layout/orgChart1"/>
    <dgm:cxn modelId="{81B91B7E-70A2-4AC6-81C2-1CED8DD8B5F7}" type="presParOf" srcId="{CEA2F8EC-5A3A-498A-9DC8-4124D8671C00}" destId="{C8F076B0-720B-4F83-9942-DB436B0E27E0}" srcOrd="0" destOrd="0" presId="urn:microsoft.com/office/officeart/2005/8/layout/orgChart1"/>
    <dgm:cxn modelId="{D0E7E71B-BAFF-4491-B3AF-FA79965E2A8A}" type="presParOf" srcId="{CEA2F8EC-5A3A-498A-9DC8-4124D8671C00}" destId="{E0198094-5A5B-42AD-8A52-4B0D8BA35DA6}" srcOrd="1" destOrd="0" presId="urn:microsoft.com/office/officeart/2005/8/layout/orgChart1"/>
    <dgm:cxn modelId="{693B8E90-A26D-4CFC-872A-A93BEBF61A36}" type="presParOf" srcId="{E0198094-5A5B-42AD-8A52-4B0D8BA35DA6}" destId="{0C3962BA-CFA6-4AA5-B13A-1E6B3AB43E0D}" srcOrd="0" destOrd="0" presId="urn:microsoft.com/office/officeart/2005/8/layout/orgChart1"/>
    <dgm:cxn modelId="{331E99C6-4B61-4C04-9CF3-21F1D7C53ABF}" type="presParOf" srcId="{0C3962BA-CFA6-4AA5-B13A-1E6B3AB43E0D}" destId="{BC9FA306-396F-43CA-A87E-04876AFDBF0C}" srcOrd="0" destOrd="0" presId="urn:microsoft.com/office/officeart/2005/8/layout/orgChart1"/>
    <dgm:cxn modelId="{1EA0FBDC-E8E7-4A2F-B35D-2E631830FE07}" type="presParOf" srcId="{0C3962BA-CFA6-4AA5-B13A-1E6B3AB43E0D}" destId="{095CEE65-7D1F-48CC-9AEE-DC4699B2124E}" srcOrd="1" destOrd="0" presId="urn:microsoft.com/office/officeart/2005/8/layout/orgChart1"/>
    <dgm:cxn modelId="{70D84FB2-F089-4532-85F4-BD46EA6CF320}" type="presParOf" srcId="{E0198094-5A5B-42AD-8A52-4B0D8BA35DA6}" destId="{A48DA3AF-623A-4360-A215-C39096C904E7}" srcOrd="1" destOrd="0" presId="urn:microsoft.com/office/officeart/2005/8/layout/orgChart1"/>
    <dgm:cxn modelId="{0E093B62-8D4A-4966-BDA3-EEC9C014C7F1}" type="presParOf" srcId="{E0198094-5A5B-42AD-8A52-4B0D8BA35DA6}" destId="{A81B77D8-A36E-48FC-BE26-92469BC2AC80}" srcOrd="2" destOrd="0" presId="urn:microsoft.com/office/officeart/2005/8/layout/orgChart1"/>
    <dgm:cxn modelId="{5450DAD3-91FC-4FF7-9106-55651BDF682A}" type="presParOf" srcId="{CEA2F8EC-5A3A-498A-9DC8-4124D8671C00}" destId="{7A20EE9F-D4B5-4FA4-BE7A-2FF9DDA88AEB}" srcOrd="2" destOrd="0" presId="urn:microsoft.com/office/officeart/2005/8/layout/orgChart1"/>
    <dgm:cxn modelId="{66E5BA77-7B27-4DDA-990E-5568ABDD34BA}" type="presParOf" srcId="{CEA2F8EC-5A3A-498A-9DC8-4124D8671C00}" destId="{B203FAD1-C478-45BD-AC2E-F6EBB02A58AA}" srcOrd="3" destOrd="0" presId="urn:microsoft.com/office/officeart/2005/8/layout/orgChart1"/>
    <dgm:cxn modelId="{2D0BF236-6AFC-4DDD-8136-70E0525C2942}" type="presParOf" srcId="{B203FAD1-C478-45BD-AC2E-F6EBB02A58AA}" destId="{27E60157-CA56-47B1-93EF-6AC564AF4C60}" srcOrd="0" destOrd="0" presId="urn:microsoft.com/office/officeart/2005/8/layout/orgChart1"/>
    <dgm:cxn modelId="{FAC9EDD2-6D73-47DF-BA8E-CCBB0902920E}" type="presParOf" srcId="{27E60157-CA56-47B1-93EF-6AC564AF4C60}" destId="{58215910-66C9-4467-B345-791D4E512EE0}" srcOrd="0" destOrd="0" presId="urn:microsoft.com/office/officeart/2005/8/layout/orgChart1"/>
    <dgm:cxn modelId="{86513948-574C-4158-AFAF-2AB298AEE50E}" type="presParOf" srcId="{27E60157-CA56-47B1-93EF-6AC564AF4C60}" destId="{8ECB9160-A695-4EA2-8D02-5E47388A88AC}" srcOrd="1" destOrd="0" presId="urn:microsoft.com/office/officeart/2005/8/layout/orgChart1"/>
    <dgm:cxn modelId="{4CE63823-05FD-4EE3-9903-704A1D19335F}" type="presParOf" srcId="{B203FAD1-C478-45BD-AC2E-F6EBB02A58AA}" destId="{3006723B-10EA-4AB2-B734-46A24B943731}" srcOrd="1" destOrd="0" presId="urn:microsoft.com/office/officeart/2005/8/layout/orgChart1"/>
    <dgm:cxn modelId="{4608F5E9-A9F9-4080-85AF-74B77998EBA8}" type="presParOf" srcId="{B203FAD1-C478-45BD-AC2E-F6EBB02A58AA}" destId="{6F91FAED-05D9-44B3-A26D-D69D46008186}" srcOrd="2" destOrd="0" presId="urn:microsoft.com/office/officeart/2005/8/layout/orgChart1"/>
    <dgm:cxn modelId="{06A9D6DE-D19A-4966-81E9-987B89729443}" type="presParOf" srcId="{994B28C1-47A3-4941-B1BA-6A8CAEE6E99E}" destId="{17C78172-0521-4F71-A436-4D6F21458BAA}" srcOrd="2" destOrd="0" presId="urn:microsoft.com/office/officeart/2005/8/layout/orgChart1"/>
    <dgm:cxn modelId="{C0BF44BB-6002-42F8-B2E8-38D03A9D344E}" type="presParOf" srcId="{994B28C1-47A3-4941-B1BA-6A8CAEE6E99E}" destId="{170B9EF9-A6DF-4928-8507-E757D68F35F3}" srcOrd="3" destOrd="0" presId="urn:microsoft.com/office/officeart/2005/8/layout/orgChart1"/>
    <dgm:cxn modelId="{FA2D5290-C89F-416B-8F37-DF7758F3C254}" type="presParOf" srcId="{170B9EF9-A6DF-4928-8507-E757D68F35F3}" destId="{DB31A340-B669-4C40-8DD5-DC9C4051260C}" srcOrd="0" destOrd="0" presId="urn:microsoft.com/office/officeart/2005/8/layout/orgChart1"/>
    <dgm:cxn modelId="{570C7FDF-9B6E-4F28-89BF-4C815AAEBEE8}" type="presParOf" srcId="{DB31A340-B669-4C40-8DD5-DC9C4051260C}" destId="{D294F242-779C-46A4-9C8E-7FA9D5A52180}" srcOrd="0" destOrd="0" presId="urn:microsoft.com/office/officeart/2005/8/layout/orgChart1"/>
    <dgm:cxn modelId="{70318290-835C-4A70-9370-74BCC5A3B33F}" type="presParOf" srcId="{DB31A340-B669-4C40-8DD5-DC9C4051260C}" destId="{5C6CDE0E-A9B6-4F23-9882-FE82B7A15B9E}" srcOrd="1" destOrd="0" presId="urn:microsoft.com/office/officeart/2005/8/layout/orgChart1"/>
    <dgm:cxn modelId="{78871812-2DDF-4C28-95B8-89C043B6F26C}" type="presParOf" srcId="{170B9EF9-A6DF-4928-8507-E757D68F35F3}" destId="{4549B08A-EB2B-474A-9C8F-352E49CC7C42}" srcOrd="1" destOrd="0" presId="urn:microsoft.com/office/officeart/2005/8/layout/orgChart1"/>
    <dgm:cxn modelId="{88FAD363-C1B2-42E0-8566-DB2B98685C64}" type="presParOf" srcId="{170B9EF9-A6DF-4928-8507-E757D68F35F3}" destId="{7F8748F4-9EA0-43DA-97E7-F0A210C006CA}" srcOrd="2" destOrd="0" presId="urn:microsoft.com/office/officeart/2005/8/layout/orgChart1"/>
    <dgm:cxn modelId="{57A7C5C2-F2FA-42B9-B719-9349FBE2C1F2}" type="presParOf" srcId="{994B28C1-47A3-4941-B1BA-6A8CAEE6E99E}" destId="{A3047A90-82D2-4045-A00D-3E0EB420B051}" srcOrd="4" destOrd="0" presId="urn:microsoft.com/office/officeart/2005/8/layout/orgChart1"/>
    <dgm:cxn modelId="{D4844AC8-4A56-4569-90DA-4A1A4027EC92}" type="presParOf" srcId="{994B28C1-47A3-4941-B1BA-6A8CAEE6E99E}" destId="{14215E4D-75A6-401F-BAD7-1913AEF7DCBB}" srcOrd="5" destOrd="0" presId="urn:microsoft.com/office/officeart/2005/8/layout/orgChart1"/>
    <dgm:cxn modelId="{537E5FDD-C09D-418E-8D56-0A7D8C3E6417}" type="presParOf" srcId="{14215E4D-75A6-401F-BAD7-1913AEF7DCBB}" destId="{B89CB877-581A-43B3-A237-DFF5133181D9}" srcOrd="0" destOrd="0" presId="urn:microsoft.com/office/officeart/2005/8/layout/orgChart1"/>
    <dgm:cxn modelId="{7ED24F6F-2E13-4011-B96B-F3CD7F846846}" type="presParOf" srcId="{B89CB877-581A-43B3-A237-DFF5133181D9}" destId="{F494799A-806A-4EA8-A649-4C228AB5037C}" srcOrd="0" destOrd="0" presId="urn:microsoft.com/office/officeart/2005/8/layout/orgChart1"/>
    <dgm:cxn modelId="{EB222A81-AD26-41B1-BC0E-651494D6BFB5}" type="presParOf" srcId="{B89CB877-581A-43B3-A237-DFF5133181D9}" destId="{E9F79DE9-380B-4F59-8E66-CCDC8AFEAABE}" srcOrd="1" destOrd="0" presId="urn:microsoft.com/office/officeart/2005/8/layout/orgChart1"/>
    <dgm:cxn modelId="{80300463-9E6D-4183-95C6-FF42C480B59B}" type="presParOf" srcId="{14215E4D-75A6-401F-BAD7-1913AEF7DCBB}" destId="{6C4295AA-C829-47F4-9D78-C803D37ACB48}" srcOrd="1" destOrd="0" presId="urn:microsoft.com/office/officeart/2005/8/layout/orgChart1"/>
    <dgm:cxn modelId="{06E72E87-98AA-4641-96BC-15C009103942}" type="presParOf" srcId="{14215E4D-75A6-401F-BAD7-1913AEF7DCBB}" destId="{E1551E81-E304-4B72-A93B-98B9DECAC12F}" srcOrd="2" destOrd="0" presId="urn:microsoft.com/office/officeart/2005/8/layout/orgChar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047A90-82D2-4045-A00D-3E0EB420B051}">
      <dsp:nvSpPr>
        <dsp:cNvPr id="0" name=""/>
        <dsp:cNvSpPr/>
      </dsp:nvSpPr>
      <dsp:spPr>
        <a:xfrm>
          <a:off x="5068272" y="2018559"/>
          <a:ext cx="192462" cy="1149783"/>
        </a:xfrm>
        <a:custGeom>
          <a:avLst/>
          <a:gdLst/>
          <a:ahLst/>
          <a:cxnLst/>
          <a:rect l="0" t="0" r="0" b="0"/>
          <a:pathLst>
            <a:path>
              <a:moveTo>
                <a:pt x="192462" y="0"/>
              </a:moveTo>
              <a:lnTo>
                <a:pt x="192462" y="1149783"/>
              </a:lnTo>
              <a:lnTo>
                <a:pt x="0" y="114978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7C78172-0521-4F71-A436-4D6F21458BAA}">
      <dsp:nvSpPr>
        <dsp:cNvPr id="0" name=""/>
        <dsp:cNvSpPr/>
      </dsp:nvSpPr>
      <dsp:spPr>
        <a:xfrm>
          <a:off x="5074225" y="2018559"/>
          <a:ext cx="186509" cy="1870946"/>
        </a:xfrm>
        <a:custGeom>
          <a:avLst/>
          <a:gdLst/>
          <a:ahLst/>
          <a:cxnLst/>
          <a:rect l="0" t="0" r="0" b="0"/>
          <a:pathLst>
            <a:path>
              <a:moveTo>
                <a:pt x="186509" y="0"/>
              </a:moveTo>
              <a:lnTo>
                <a:pt x="186509" y="1870946"/>
              </a:lnTo>
              <a:lnTo>
                <a:pt x="0" y="187094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20EE9F-D4B5-4FA4-BE7A-2FF9DDA88AEB}">
      <dsp:nvSpPr>
        <dsp:cNvPr id="0" name=""/>
        <dsp:cNvSpPr/>
      </dsp:nvSpPr>
      <dsp:spPr>
        <a:xfrm>
          <a:off x="3756695" y="2586875"/>
          <a:ext cx="790546" cy="91440"/>
        </a:xfrm>
        <a:custGeom>
          <a:avLst/>
          <a:gdLst/>
          <a:ahLst/>
          <a:cxnLst/>
          <a:rect l="0" t="0" r="0" b="0"/>
          <a:pathLst>
            <a:path>
              <a:moveTo>
                <a:pt x="790546" y="109101"/>
              </a:moveTo>
              <a:lnTo>
                <a:pt x="0" y="4572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8F076B0-720B-4F83-9942-DB436B0E27E0}">
      <dsp:nvSpPr>
        <dsp:cNvPr id="0" name=""/>
        <dsp:cNvSpPr/>
      </dsp:nvSpPr>
      <dsp:spPr>
        <a:xfrm>
          <a:off x="3866867" y="2336377"/>
          <a:ext cx="680375" cy="359599"/>
        </a:xfrm>
        <a:custGeom>
          <a:avLst/>
          <a:gdLst/>
          <a:ahLst/>
          <a:cxnLst/>
          <a:rect l="0" t="0" r="0" b="0"/>
          <a:pathLst>
            <a:path>
              <a:moveTo>
                <a:pt x="680375" y="359599"/>
              </a:moveTo>
              <a:lnTo>
                <a:pt x="0" y="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8E26365-3C11-44DB-9FC7-CBCD621C06D6}">
      <dsp:nvSpPr>
        <dsp:cNvPr id="0" name=""/>
        <dsp:cNvSpPr/>
      </dsp:nvSpPr>
      <dsp:spPr>
        <a:xfrm>
          <a:off x="5024297" y="2018559"/>
          <a:ext cx="236437" cy="438890"/>
        </a:xfrm>
        <a:custGeom>
          <a:avLst/>
          <a:gdLst/>
          <a:ahLst/>
          <a:cxnLst/>
          <a:rect l="0" t="0" r="0" b="0"/>
          <a:pathLst>
            <a:path>
              <a:moveTo>
                <a:pt x="236437" y="0"/>
              </a:moveTo>
              <a:lnTo>
                <a:pt x="236437" y="438890"/>
              </a:lnTo>
              <a:lnTo>
                <a:pt x="0" y="43889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B0B234-399C-45A8-8406-6D32F178E2CD}">
      <dsp:nvSpPr>
        <dsp:cNvPr id="0" name=""/>
        <dsp:cNvSpPr/>
      </dsp:nvSpPr>
      <dsp:spPr>
        <a:xfrm>
          <a:off x="3215486" y="1341141"/>
          <a:ext cx="1568193" cy="438890"/>
        </a:xfrm>
        <a:custGeom>
          <a:avLst/>
          <a:gdLst/>
          <a:ahLst/>
          <a:cxnLst/>
          <a:rect l="0" t="0" r="0" b="0"/>
          <a:pathLst>
            <a:path>
              <a:moveTo>
                <a:pt x="0" y="0"/>
              </a:moveTo>
              <a:lnTo>
                <a:pt x="0" y="438890"/>
              </a:lnTo>
              <a:lnTo>
                <a:pt x="1568193" y="438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6D11A5-F616-4B06-A50F-4BD89587DB3C}">
      <dsp:nvSpPr>
        <dsp:cNvPr id="0" name=""/>
        <dsp:cNvSpPr/>
      </dsp:nvSpPr>
      <dsp:spPr>
        <a:xfrm>
          <a:off x="1951186" y="2018559"/>
          <a:ext cx="109827" cy="1074327"/>
        </a:xfrm>
        <a:custGeom>
          <a:avLst/>
          <a:gdLst/>
          <a:ahLst/>
          <a:cxnLst/>
          <a:rect l="0" t="0" r="0" b="0"/>
          <a:pathLst>
            <a:path>
              <a:moveTo>
                <a:pt x="109827" y="0"/>
              </a:moveTo>
              <a:lnTo>
                <a:pt x="109827" y="1074327"/>
              </a:lnTo>
              <a:lnTo>
                <a:pt x="0" y="107432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F051F8-63C6-43AC-8489-FDE6A6FF7312}">
      <dsp:nvSpPr>
        <dsp:cNvPr id="0" name=""/>
        <dsp:cNvSpPr/>
      </dsp:nvSpPr>
      <dsp:spPr>
        <a:xfrm>
          <a:off x="1948906" y="2018559"/>
          <a:ext cx="112107" cy="1592833"/>
        </a:xfrm>
        <a:custGeom>
          <a:avLst/>
          <a:gdLst/>
          <a:ahLst/>
          <a:cxnLst/>
          <a:rect l="0" t="0" r="0" b="0"/>
          <a:pathLst>
            <a:path>
              <a:moveTo>
                <a:pt x="112107" y="0"/>
              </a:moveTo>
              <a:lnTo>
                <a:pt x="112107" y="1592833"/>
              </a:lnTo>
              <a:lnTo>
                <a:pt x="0" y="159283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3BEBDD-F70A-4502-9AB1-CDBE07F74B8D}">
      <dsp:nvSpPr>
        <dsp:cNvPr id="0" name=""/>
        <dsp:cNvSpPr/>
      </dsp:nvSpPr>
      <dsp:spPr>
        <a:xfrm>
          <a:off x="881553" y="2588110"/>
          <a:ext cx="621464" cy="91440"/>
        </a:xfrm>
        <a:custGeom>
          <a:avLst/>
          <a:gdLst/>
          <a:ahLst/>
          <a:cxnLst/>
          <a:rect l="0" t="0" r="0" b="0"/>
          <a:pathLst>
            <a:path>
              <a:moveTo>
                <a:pt x="621464" y="96502"/>
              </a:moveTo>
              <a:lnTo>
                <a:pt x="0" y="4572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A216A1A-D0FC-4EBA-84D8-0EC2D101572D}">
      <dsp:nvSpPr>
        <dsp:cNvPr id="0" name=""/>
        <dsp:cNvSpPr/>
      </dsp:nvSpPr>
      <dsp:spPr>
        <a:xfrm>
          <a:off x="891318" y="2277914"/>
          <a:ext cx="611698" cy="406698"/>
        </a:xfrm>
        <a:custGeom>
          <a:avLst/>
          <a:gdLst/>
          <a:ahLst/>
          <a:cxnLst/>
          <a:rect l="0" t="0" r="0" b="0"/>
          <a:pathLst>
            <a:path>
              <a:moveTo>
                <a:pt x="611698" y="406698"/>
              </a:moveTo>
              <a:lnTo>
                <a:pt x="0" y="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18A1248-ADD0-433A-BA64-96F15A5FC96F}">
      <dsp:nvSpPr>
        <dsp:cNvPr id="0" name=""/>
        <dsp:cNvSpPr/>
      </dsp:nvSpPr>
      <dsp:spPr>
        <a:xfrm>
          <a:off x="1934352" y="2018559"/>
          <a:ext cx="91440" cy="427526"/>
        </a:xfrm>
        <a:custGeom>
          <a:avLst/>
          <a:gdLst/>
          <a:ahLst/>
          <a:cxnLst/>
          <a:rect l="0" t="0" r="0" b="0"/>
          <a:pathLst>
            <a:path>
              <a:moveTo>
                <a:pt x="126661" y="0"/>
              </a:moveTo>
              <a:lnTo>
                <a:pt x="126661" y="427526"/>
              </a:lnTo>
              <a:lnTo>
                <a:pt x="45720" y="42752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7B1E98-25CB-403A-8E25-7800726D11E8}">
      <dsp:nvSpPr>
        <dsp:cNvPr id="0" name=""/>
        <dsp:cNvSpPr/>
      </dsp:nvSpPr>
      <dsp:spPr>
        <a:xfrm>
          <a:off x="2538068" y="1341141"/>
          <a:ext cx="677417" cy="438890"/>
        </a:xfrm>
        <a:custGeom>
          <a:avLst/>
          <a:gdLst/>
          <a:ahLst/>
          <a:cxnLst/>
          <a:rect l="0" t="0" r="0" b="0"/>
          <a:pathLst>
            <a:path>
              <a:moveTo>
                <a:pt x="677417" y="0"/>
              </a:moveTo>
              <a:lnTo>
                <a:pt x="677417" y="438890"/>
              </a:lnTo>
              <a:lnTo>
                <a:pt x="0" y="438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C623352-B711-4A54-9FEB-A609B3A2B56F}">
      <dsp:nvSpPr>
        <dsp:cNvPr id="0" name=""/>
        <dsp:cNvSpPr/>
      </dsp:nvSpPr>
      <dsp:spPr>
        <a:xfrm>
          <a:off x="2421119" y="864086"/>
          <a:ext cx="1588735" cy="4770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Landing page – list of projects with budget</a:t>
          </a:r>
        </a:p>
      </dsp:txBody>
      <dsp:txXfrm>
        <a:off x="2421119" y="864086"/>
        <a:ext cx="1588735" cy="477054"/>
      </dsp:txXfrm>
    </dsp:sp>
    <dsp:sp modelId="{86D1CDCE-BEAC-4F79-969F-6B844A76B303}">
      <dsp:nvSpPr>
        <dsp:cNvPr id="0" name=""/>
        <dsp:cNvSpPr/>
      </dsp:nvSpPr>
      <dsp:spPr>
        <a:xfrm>
          <a:off x="1583959" y="1541504"/>
          <a:ext cx="954109" cy="4770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Project A</a:t>
          </a:r>
        </a:p>
      </dsp:txBody>
      <dsp:txXfrm>
        <a:off x="1583959" y="1541504"/>
        <a:ext cx="954109" cy="477054"/>
      </dsp:txXfrm>
    </dsp:sp>
    <dsp:sp modelId="{4ECA33AE-0F92-4715-99E9-29D7AB003517}">
      <dsp:nvSpPr>
        <dsp:cNvPr id="0" name=""/>
        <dsp:cNvSpPr/>
      </dsp:nvSpPr>
      <dsp:spPr>
        <a:xfrm>
          <a:off x="1025962" y="2207558"/>
          <a:ext cx="954109" cy="4770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Roof</a:t>
          </a:r>
        </a:p>
      </dsp:txBody>
      <dsp:txXfrm>
        <a:off x="1025962" y="2207558"/>
        <a:ext cx="954109" cy="477054"/>
      </dsp:txXfrm>
    </dsp:sp>
    <dsp:sp modelId="{60DBEC69-7706-4677-85A4-044E54B9E8C4}">
      <dsp:nvSpPr>
        <dsp:cNvPr id="0" name=""/>
        <dsp:cNvSpPr/>
      </dsp:nvSpPr>
      <dsp:spPr>
        <a:xfrm>
          <a:off x="85945" y="2133290"/>
          <a:ext cx="805373" cy="28924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Sub A</a:t>
          </a:r>
        </a:p>
      </dsp:txBody>
      <dsp:txXfrm>
        <a:off x="85945" y="2133290"/>
        <a:ext cx="805373" cy="289247"/>
      </dsp:txXfrm>
    </dsp:sp>
    <dsp:sp modelId="{0A9225AF-8C2A-4525-9B21-BFFCB32EC877}">
      <dsp:nvSpPr>
        <dsp:cNvPr id="0" name=""/>
        <dsp:cNvSpPr/>
      </dsp:nvSpPr>
      <dsp:spPr>
        <a:xfrm>
          <a:off x="76179" y="2489207"/>
          <a:ext cx="805373" cy="28924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Sub B</a:t>
          </a:r>
        </a:p>
      </dsp:txBody>
      <dsp:txXfrm>
        <a:off x="76179" y="2489207"/>
        <a:ext cx="805373" cy="289247"/>
      </dsp:txXfrm>
    </dsp:sp>
    <dsp:sp modelId="{998360FF-01E2-464F-B073-DC4B1C4EE534}">
      <dsp:nvSpPr>
        <dsp:cNvPr id="0" name=""/>
        <dsp:cNvSpPr/>
      </dsp:nvSpPr>
      <dsp:spPr>
        <a:xfrm>
          <a:off x="994796" y="3372865"/>
          <a:ext cx="954109" cy="4770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Exterior</a:t>
          </a:r>
        </a:p>
      </dsp:txBody>
      <dsp:txXfrm>
        <a:off x="994796" y="3372865"/>
        <a:ext cx="954109" cy="477054"/>
      </dsp:txXfrm>
    </dsp:sp>
    <dsp:sp modelId="{65586556-0080-40A2-861D-F5C41C329A1A}">
      <dsp:nvSpPr>
        <dsp:cNvPr id="0" name=""/>
        <dsp:cNvSpPr/>
      </dsp:nvSpPr>
      <dsp:spPr>
        <a:xfrm>
          <a:off x="997076" y="2854359"/>
          <a:ext cx="954109" cy="4770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Drywall/Paint</a:t>
          </a:r>
        </a:p>
      </dsp:txBody>
      <dsp:txXfrm>
        <a:off x="997076" y="2854359"/>
        <a:ext cx="954109" cy="477054"/>
      </dsp:txXfrm>
    </dsp:sp>
    <dsp:sp modelId="{6969C14A-8300-4CA7-8653-D8F169AE1885}">
      <dsp:nvSpPr>
        <dsp:cNvPr id="0" name=""/>
        <dsp:cNvSpPr/>
      </dsp:nvSpPr>
      <dsp:spPr>
        <a:xfrm>
          <a:off x="4783680" y="1541504"/>
          <a:ext cx="954109" cy="4770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Project B</a:t>
          </a:r>
        </a:p>
      </dsp:txBody>
      <dsp:txXfrm>
        <a:off x="4783680" y="1541504"/>
        <a:ext cx="954109" cy="477054"/>
      </dsp:txXfrm>
    </dsp:sp>
    <dsp:sp modelId="{7C8A914E-16C8-4A5A-8A97-A7E12F41B2D6}">
      <dsp:nvSpPr>
        <dsp:cNvPr id="0" name=""/>
        <dsp:cNvSpPr/>
      </dsp:nvSpPr>
      <dsp:spPr>
        <a:xfrm>
          <a:off x="4070187" y="2218922"/>
          <a:ext cx="954109" cy="4770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Electrical</a:t>
          </a:r>
        </a:p>
      </dsp:txBody>
      <dsp:txXfrm>
        <a:off x="4070187" y="2218922"/>
        <a:ext cx="954109" cy="477054"/>
      </dsp:txXfrm>
    </dsp:sp>
    <dsp:sp modelId="{BC9FA306-396F-43CA-A87E-04876AFDBF0C}">
      <dsp:nvSpPr>
        <dsp:cNvPr id="0" name=""/>
        <dsp:cNvSpPr/>
      </dsp:nvSpPr>
      <dsp:spPr>
        <a:xfrm>
          <a:off x="3176454" y="2243681"/>
          <a:ext cx="690412" cy="18539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Sub C</a:t>
          </a:r>
        </a:p>
      </dsp:txBody>
      <dsp:txXfrm>
        <a:off x="3176454" y="2243681"/>
        <a:ext cx="690412" cy="185393"/>
      </dsp:txXfrm>
    </dsp:sp>
    <dsp:sp modelId="{58215910-66C9-4467-B345-791D4E512EE0}">
      <dsp:nvSpPr>
        <dsp:cNvPr id="0" name=""/>
        <dsp:cNvSpPr/>
      </dsp:nvSpPr>
      <dsp:spPr>
        <a:xfrm>
          <a:off x="3066283" y="2539898"/>
          <a:ext cx="690412" cy="18539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Sub D</a:t>
          </a:r>
        </a:p>
      </dsp:txBody>
      <dsp:txXfrm>
        <a:off x="3066283" y="2539898"/>
        <a:ext cx="690412" cy="185393"/>
      </dsp:txXfrm>
    </dsp:sp>
    <dsp:sp modelId="{D294F242-779C-46A4-9C8E-7FA9D5A52180}">
      <dsp:nvSpPr>
        <dsp:cNvPr id="0" name=""/>
        <dsp:cNvSpPr/>
      </dsp:nvSpPr>
      <dsp:spPr>
        <a:xfrm>
          <a:off x="4120116" y="3650978"/>
          <a:ext cx="954109" cy="4770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Drywall/Paint</a:t>
          </a:r>
        </a:p>
      </dsp:txBody>
      <dsp:txXfrm>
        <a:off x="4120116" y="3650978"/>
        <a:ext cx="954109" cy="477054"/>
      </dsp:txXfrm>
    </dsp:sp>
    <dsp:sp modelId="{F494799A-806A-4EA8-A649-4C228AB5037C}">
      <dsp:nvSpPr>
        <dsp:cNvPr id="0" name=""/>
        <dsp:cNvSpPr/>
      </dsp:nvSpPr>
      <dsp:spPr>
        <a:xfrm>
          <a:off x="4114162" y="2929814"/>
          <a:ext cx="954109" cy="4770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Plumbing</a:t>
          </a:r>
        </a:p>
      </dsp:txBody>
      <dsp:txXfrm>
        <a:off x="4114162" y="2929814"/>
        <a:ext cx="954109" cy="47705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Lato" panose="020F0502020204030203" pitchFamily="34" charset="77"/>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17D310-0C4F-4B4C-B025-B4A6F8DB9521}" type="datetimeFigureOut">
              <a:rPr lang="en-US" smtClean="0">
                <a:latin typeface="Lato" panose="020F0502020204030203" pitchFamily="34" charset="77"/>
              </a:rPr>
              <a:t>5/21/2025</a:t>
            </a:fld>
            <a:endParaRPr lang="en-US" dirty="0">
              <a:latin typeface="Lato" panose="020F0502020204030203" pitchFamily="34" charset="77"/>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Lato" panose="020F0502020204030203" pitchFamily="34" charset="77"/>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4B1BD57-0140-5543-8501-12A1D34515F5}" type="slidenum">
              <a:rPr lang="en-US" smtClean="0">
                <a:latin typeface="Lato" panose="020F0502020204030203" pitchFamily="34" charset="77"/>
              </a:rPr>
              <a:t>‹#›</a:t>
            </a:fld>
            <a:endParaRPr lang="en-US" dirty="0">
              <a:latin typeface="Lato" panose="020F0502020204030203" pitchFamily="34" charset="77"/>
            </a:endParaRPr>
          </a:p>
        </p:txBody>
      </p:sp>
    </p:spTree>
    <p:extLst>
      <p:ext uri="{BB962C8B-B14F-4D97-AF65-F5344CB8AC3E}">
        <p14:creationId xmlns:p14="http://schemas.microsoft.com/office/powerpoint/2010/main" val="40610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Lato" panose="020F0502020204030203" pitchFamily="34" charset="77"/>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Lato" panose="020F0502020204030203" pitchFamily="34" charset="77"/>
              </a:defRPr>
            </a:lvl1pPr>
          </a:lstStyle>
          <a:p>
            <a:fld id="{EFC10EE1-B198-C942-8235-326C972CBB30}" type="datetimeFigureOut">
              <a:rPr lang="en-US" smtClean="0"/>
              <a:pPr/>
              <a:t>5/21/2025</a:t>
            </a:fld>
            <a:endParaRPr lang="en-US" dirty="0"/>
          </a:p>
        </p:txBody>
      </p:sp>
      <p:sp>
        <p:nvSpPr>
          <p:cNvPr id="4" name="Slide Image Placeholder 3"/>
          <p:cNvSpPr>
            <a:spLocks noGrp="1" noRot="1" noChangeAspect="1"/>
          </p:cNvSpPr>
          <p:nvPr>
            <p:ph type="sldImg" idx="2"/>
          </p:nvPr>
        </p:nvSpPr>
        <p:spPr>
          <a:xfrm>
            <a:off x="2103438" y="685800"/>
            <a:ext cx="26511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Lato" panose="020F0502020204030203" pitchFamily="34" charset="77"/>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Lato" panose="020F0502020204030203" pitchFamily="34" charset="77"/>
              </a:defRPr>
            </a:lvl1pPr>
          </a:lstStyle>
          <a:p>
            <a:fld id="{006BE02D-20C0-F840-AFAC-BEA99C74FDC2}" type="slidenum">
              <a:rPr lang="en-US" smtClean="0"/>
              <a:pPr/>
              <a:t>‹#›</a:t>
            </a:fld>
            <a:endParaRPr lang="en-US" dirty="0"/>
          </a:p>
        </p:txBody>
      </p:sp>
    </p:spTree>
    <p:extLst>
      <p:ext uri="{BB962C8B-B14F-4D97-AF65-F5344CB8AC3E}">
        <p14:creationId xmlns:p14="http://schemas.microsoft.com/office/powerpoint/2010/main" val="3463289142"/>
      </p:ext>
    </p:extLst>
  </p:cSld>
  <p:clrMap bg1="lt1" tx1="dk1" bg2="lt2" tx2="dk2" accent1="accent1" accent2="accent2" accent3="accent3" accent4="accent4" accent5="accent5" accent6="accent6" hlink="hlink" folHlink="folHlink"/>
  <p:notesStyle>
    <a:lvl1pPr marL="0" algn="l" defTabSz="509310" rtl="0" eaLnBrk="1" latinLnBrk="0" hangingPunct="1">
      <a:defRPr sz="1337" b="0" i="0" kern="1200">
        <a:solidFill>
          <a:schemeClr val="tx1"/>
        </a:solidFill>
        <a:latin typeface="Lato" panose="020F0502020204030203" pitchFamily="34" charset="77"/>
        <a:ea typeface="+mn-ea"/>
        <a:cs typeface="+mn-cs"/>
      </a:defRPr>
    </a:lvl1pPr>
    <a:lvl2pPr marL="509310" algn="l" defTabSz="509310" rtl="0" eaLnBrk="1" latinLnBrk="0" hangingPunct="1">
      <a:defRPr sz="1337" b="0" i="0" kern="1200">
        <a:solidFill>
          <a:schemeClr val="tx1"/>
        </a:solidFill>
        <a:latin typeface="Lato" panose="020F0502020204030203" pitchFamily="34" charset="77"/>
        <a:ea typeface="+mn-ea"/>
        <a:cs typeface="+mn-cs"/>
      </a:defRPr>
    </a:lvl2pPr>
    <a:lvl3pPr marL="1018621" algn="l" defTabSz="509310" rtl="0" eaLnBrk="1" latinLnBrk="0" hangingPunct="1">
      <a:defRPr sz="1337" b="0" i="0" kern="1200">
        <a:solidFill>
          <a:schemeClr val="tx1"/>
        </a:solidFill>
        <a:latin typeface="Lato" panose="020F0502020204030203" pitchFamily="34" charset="77"/>
        <a:ea typeface="+mn-ea"/>
        <a:cs typeface="+mn-cs"/>
      </a:defRPr>
    </a:lvl3pPr>
    <a:lvl4pPr marL="1527931" algn="l" defTabSz="509310" rtl="0" eaLnBrk="1" latinLnBrk="0" hangingPunct="1">
      <a:defRPr sz="1337" b="0" i="0" kern="1200">
        <a:solidFill>
          <a:schemeClr val="tx1"/>
        </a:solidFill>
        <a:latin typeface="Lato" panose="020F0502020204030203" pitchFamily="34" charset="77"/>
        <a:ea typeface="+mn-ea"/>
        <a:cs typeface="+mn-cs"/>
      </a:defRPr>
    </a:lvl4pPr>
    <a:lvl5pPr marL="2037241" algn="l" defTabSz="509310" rtl="0" eaLnBrk="1" latinLnBrk="0" hangingPunct="1">
      <a:defRPr sz="1337" b="0" i="0" kern="1200">
        <a:solidFill>
          <a:schemeClr val="tx1"/>
        </a:solidFill>
        <a:latin typeface="Lato" panose="020F0502020204030203" pitchFamily="34" charset="77"/>
        <a:ea typeface="+mn-ea"/>
        <a:cs typeface="+mn-cs"/>
      </a:defRPr>
    </a:lvl5pPr>
    <a:lvl6pPr marL="2546552" algn="l" defTabSz="509310" rtl="0" eaLnBrk="1" latinLnBrk="0" hangingPunct="1">
      <a:defRPr sz="1337" kern="1200">
        <a:solidFill>
          <a:schemeClr val="tx1"/>
        </a:solidFill>
        <a:latin typeface="+mn-lt"/>
        <a:ea typeface="+mn-ea"/>
        <a:cs typeface="+mn-cs"/>
      </a:defRPr>
    </a:lvl6pPr>
    <a:lvl7pPr marL="3055862" algn="l" defTabSz="509310" rtl="0" eaLnBrk="1" latinLnBrk="0" hangingPunct="1">
      <a:defRPr sz="1337" kern="1200">
        <a:solidFill>
          <a:schemeClr val="tx1"/>
        </a:solidFill>
        <a:latin typeface="+mn-lt"/>
        <a:ea typeface="+mn-ea"/>
        <a:cs typeface="+mn-cs"/>
      </a:defRPr>
    </a:lvl7pPr>
    <a:lvl8pPr marL="3565173" algn="l" defTabSz="509310" rtl="0" eaLnBrk="1" latinLnBrk="0" hangingPunct="1">
      <a:defRPr sz="1337" kern="1200">
        <a:solidFill>
          <a:schemeClr val="tx1"/>
        </a:solidFill>
        <a:latin typeface="+mn-lt"/>
        <a:ea typeface="+mn-ea"/>
        <a:cs typeface="+mn-cs"/>
      </a:defRPr>
    </a:lvl8pPr>
    <a:lvl9pPr marL="4074483" algn="l" defTabSz="509310" rtl="0" eaLnBrk="1" latinLnBrk="0" hangingPunct="1">
      <a:defRPr sz="1337"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82930" y="1646133"/>
            <a:ext cx="6606540" cy="3501813"/>
          </a:xfrm>
        </p:spPr>
        <p:txBody>
          <a:bodyPr anchor="b"/>
          <a:lstStyle>
            <a:lvl1pPr algn="ctr">
              <a:defRPr sz="5100"/>
            </a:lvl1pPr>
          </a:lstStyle>
          <a:p>
            <a:r>
              <a:rPr lang="en-US"/>
              <a:t>Click to edit Master title style</a:t>
            </a:r>
            <a:endParaRPr lang="en-US" dirty="0"/>
          </a:p>
        </p:txBody>
      </p:sp>
      <p:sp>
        <p:nvSpPr>
          <p:cNvPr id="3" name="Subtitle 2"/>
          <p:cNvSpPr>
            <a:spLocks noGrp="1"/>
          </p:cNvSpPr>
          <p:nvPr>
            <p:ph type="subTitle" idx="1"/>
          </p:nvPr>
        </p:nvSpPr>
        <p:spPr>
          <a:xfrm>
            <a:off x="971550" y="5282989"/>
            <a:ext cx="5829300" cy="2428451"/>
          </a:xfrm>
        </p:spPr>
        <p:txBody>
          <a:bodyPr/>
          <a:lstStyle>
            <a:lvl1pPr marL="0" indent="0" algn="ctr">
              <a:buNone/>
              <a:defRPr sz="2040"/>
            </a:lvl1pPr>
            <a:lvl2pPr marL="388620" indent="0" algn="ctr">
              <a:buNone/>
              <a:defRPr sz="1700"/>
            </a:lvl2pPr>
            <a:lvl3pPr marL="777240" indent="0" algn="ctr">
              <a:buNone/>
              <a:defRPr sz="1530"/>
            </a:lvl3pPr>
            <a:lvl4pPr marL="1165860" indent="0" algn="ctr">
              <a:buNone/>
              <a:defRPr sz="1360"/>
            </a:lvl4pPr>
            <a:lvl5pPr marL="1554480" indent="0" algn="ctr">
              <a:buNone/>
              <a:defRPr sz="1360"/>
            </a:lvl5pPr>
            <a:lvl6pPr marL="1943100" indent="0" algn="ctr">
              <a:buNone/>
              <a:defRPr sz="1360"/>
            </a:lvl6pPr>
            <a:lvl7pPr marL="2331720" indent="0" algn="ctr">
              <a:buNone/>
              <a:defRPr sz="1360"/>
            </a:lvl7pPr>
            <a:lvl8pPr marL="2720340" indent="0" algn="ctr">
              <a:buNone/>
              <a:defRPr sz="1360"/>
            </a:lvl8pPr>
            <a:lvl9pPr marL="3108960" indent="0" algn="ctr">
              <a:buNone/>
              <a:defRPr sz="136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pPr/>
              <a:t>5/21/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4216743923"/>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pPr/>
              <a:t>5/21/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70754761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562124" y="535517"/>
            <a:ext cx="1675924" cy="852402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534353" y="535517"/>
            <a:ext cx="4930616" cy="852402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pPr/>
              <a:t>5/21/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3242747801"/>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pPr/>
              <a:t>5/21/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66329628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30305" y="2507618"/>
            <a:ext cx="6703695" cy="4184014"/>
          </a:xfrm>
        </p:spPr>
        <p:txBody>
          <a:bodyPr anchor="b"/>
          <a:lstStyle>
            <a:lvl1pPr>
              <a:defRPr sz="5100"/>
            </a:lvl1pPr>
          </a:lstStyle>
          <a:p>
            <a:r>
              <a:rPr lang="en-US"/>
              <a:t>Click to edit Master title style</a:t>
            </a:r>
            <a:endParaRPr lang="en-US" dirty="0"/>
          </a:p>
        </p:txBody>
      </p:sp>
      <p:sp>
        <p:nvSpPr>
          <p:cNvPr id="3" name="Text Placeholder 2"/>
          <p:cNvSpPr>
            <a:spLocks noGrp="1"/>
          </p:cNvSpPr>
          <p:nvPr>
            <p:ph type="body" idx="1"/>
          </p:nvPr>
        </p:nvSpPr>
        <p:spPr>
          <a:xfrm>
            <a:off x="530305" y="6731215"/>
            <a:ext cx="6703695" cy="2200274"/>
          </a:xfrm>
        </p:spPr>
        <p:txBody>
          <a:bodyPr/>
          <a:lstStyle>
            <a:lvl1pPr marL="0" indent="0">
              <a:buNone/>
              <a:defRPr sz="2040">
                <a:solidFill>
                  <a:schemeClr val="tx1"/>
                </a:solidFill>
              </a:defRPr>
            </a:lvl1pPr>
            <a:lvl2pPr marL="388620" indent="0">
              <a:buNone/>
              <a:defRPr sz="1700">
                <a:solidFill>
                  <a:schemeClr val="tx1">
                    <a:tint val="75000"/>
                  </a:schemeClr>
                </a:solidFill>
              </a:defRPr>
            </a:lvl2pPr>
            <a:lvl3pPr marL="777240" indent="0">
              <a:buNone/>
              <a:defRPr sz="1530">
                <a:solidFill>
                  <a:schemeClr val="tx1">
                    <a:tint val="75000"/>
                  </a:schemeClr>
                </a:solidFill>
              </a:defRPr>
            </a:lvl3pPr>
            <a:lvl4pPr marL="1165860" indent="0">
              <a:buNone/>
              <a:defRPr sz="1360">
                <a:solidFill>
                  <a:schemeClr val="tx1">
                    <a:tint val="75000"/>
                  </a:schemeClr>
                </a:solidFill>
              </a:defRPr>
            </a:lvl4pPr>
            <a:lvl5pPr marL="1554480" indent="0">
              <a:buNone/>
              <a:defRPr sz="1360">
                <a:solidFill>
                  <a:schemeClr val="tx1">
                    <a:tint val="75000"/>
                  </a:schemeClr>
                </a:solidFill>
              </a:defRPr>
            </a:lvl5pPr>
            <a:lvl6pPr marL="1943100" indent="0">
              <a:buNone/>
              <a:defRPr sz="1360">
                <a:solidFill>
                  <a:schemeClr val="tx1">
                    <a:tint val="75000"/>
                  </a:schemeClr>
                </a:solidFill>
              </a:defRPr>
            </a:lvl6pPr>
            <a:lvl7pPr marL="2331720" indent="0">
              <a:buNone/>
              <a:defRPr sz="1360">
                <a:solidFill>
                  <a:schemeClr val="tx1">
                    <a:tint val="75000"/>
                  </a:schemeClr>
                </a:solidFill>
              </a:defRPr>
            </a:lvl7pPr>
            <a:lvl8pPr marL="2720340" indent="0">
              <a:buNone/>
              <a:defRPr sz="1360">
                <a:solidFill>
                  <a:schemeClr val="tx1">
                    <a:tint val="75000"/>
                  </a:schemeClr>
                </a:solidFill>
              </a:defRPr>
            </a:lvl8pPr>
            <a:lvl9pPr marL="3108960" indent="0">
              <a:buNone/>
              <a:defRPr sz="136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smtClean="0"/>
              <a:pPr/>
              <a:t>5/21/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16894043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34353" y="2677584"/>
            <a:ext cx="3303270" cy="6381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934778" y="2677584"/>
            <a:ext cx="3303270" cy="6381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smtClean="0"/>
              <a:pPr/>
              <a:t>5/21/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783029331"/>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365" y="535519"/>
            <a:ext cx="6703695" cy="1944159"/>
          </a:xfrm>
        </p:spPr>
        <p:txBody>
          <a:bodyPr/>
          <a:lstStyle/>
          <a:p>
            <a:r>
              <a:rPr lang="en-US"/>
              <a:t>Click to edit Master title style</a:t>
            </a:r>
            <a:endParaRPr lang="en-US" dirty="0"/>
          </a:p>
        </p:txBody>
      </p:sp>
      <p:sp>
        <p:nvSpPr>
          <p:cNvPr id="3" name="Text Placeholder 2"/>
          <p:cNvSpPr>
            <a:spLocks noGrp="1"/>
          </p:cNvSpPr>
          <p:nvPr>
            <p:ph type="body" idx="1"/>
          </p:nvPr>
        </p:nvSpPr>
        <p:spPr>
          <a:xfrm>
            <a:off x="535366" y="2465706"/>
            <a:ext cx="3288089" cy="1208404"/>
          </a:xfrm>
        </p:spPr>
        <p:txBody>
          <a:bodyPr anchor="b"/>
          <a:lstStyle>
            <a:lvl1pPr marL="0" indent="0">
              <a:buNone/>
              <a:defRPr sz="2040" b="1"/>
            </a:lvl1pPr>
            <a:lvl2pPr marL="388620" indent="0">
              <a:buNone/>
              <a:defRPr sz="1700" b="1"/>
            </a:lvl2pPr>
            <a:lvl3pPr marL="777240" indent="0">
              <a:buNone/>
              <a:defRPr sz="1530" b="1"/>
            </a:lvl3pPr>
            <a:lvl4pPr marL="1165860" indent="0">
              <a:buNone/>
              <a:defRPr sz="1360" b="1"/>
            </a:lvl4pPr>
            <a:lvl5pPr marL="1554480" indent="0">
              <a:buNone/>
              <a:defRPr sz="1360" b="1"/>
            </a:lvl5pPr>
            <a:lvl6pPr marL="1943100" indent="0">
              <a:buNone/>
              <a:defRPr sz="1360" b="1"/>
            </a:lvl6pPr>
            <a:lvl7pPr marL="2331720" indent="0">
              <a:buNone/>
              <a:defRPr sz="1360" b="1"/>
            </a:lvl7pPr>
            <a:lvl8pPr marL="2720340" indent="0">
              <a:buNone/>
              <a:defRPr sz="1360" b="1"/>
            </a:lvl8pPr>
            <a:lvl9pPr marL="3108960" indent="0">
              <a:buNone/>
              <a:defRPr sz="1360" b="1"/>
            </a:lvl9pPr>
          </a:lstStyle>
          <a:p>
            <a:pPr lvl="0"/>
            <a:r>
              <a:rPr lang="en-US"/>
              <a:t>Click to edit Master text styles</a:t>
            </a:r>
          </a:p>
        </p:txBody>
      </p:sp>
      <p:sp>
        <p:nvSpPr>
          <p:cNvPr id="4" name="Content Placeholder 3"/>
          <p:cNvSpPr>
            <a:spLocks noGrp="1"/>
          </p:cNvSpPr>
          <p:nvPr>
            <p:ph sz="half" idx="2"/>
          </p:nvPr>
        </p:nvSpPr>
        <p:spPr>
          <a:xfrm>
            <a:off x="535366" y="3674110"/>
            <a:ext cx="3288089" cy="54040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934778" y="2465706"/>
            <a:ext cx="3304282" cy="1208404"/>
          </a:xfrm>
        </p:spPr>
        <p:txBody>
          <a:bodyPr anchor="b"/>
          <a:lstStyle>
            <a:lvl1pPr marL="0" indent="0">
              <a:buNone/>
              <a:defRPr sz="2040" b="1"/>
            </a:lvl1pPr>
            <a:lvl2pPr marL="388620" indent="0">
              <a:buNone/>
              <a:defRPr sz="1700" b="1"/>
            </a:lvl2pPr>
            <a:lvl3pPr marL="777240" indent="0">
              <a:buNone/>
              <a:defRPr sz="1530" b="1"/>
            </a:lvl3pPr>
            <a:lvl4pPr marL="1165860" indent="0">
              <a:buNone/>
              <a:defRPr sz="1360" b="1"/>
            </a:lvl4pPr>
            <a:lvl5pPr marL="1554480" indent="0">
              <a:buNone/>
              <a:defRPr sz="1360" b="1"/>
            </a:lvl5pPr>
            <a:lvl6pPr marL="1943100" indent="0">
              <a:buNone/>
              <a:defRPr sz="1360" b="1"/>
            </a:lvl6pPr>
            <a:lvl7pPr marL="2331720" indent="0">
              <a:buNone/>
              <a:defRPr sz="1360" b="1"/>
            </a:lvl7pPr>
            <a:lvl8pPr marL="2720340" indent="0">
              <a:buNone/>
              <a:defRPr sz="1360" b="1"/>
            </a:lvl8pPr>
            <a:lvl9pPr marL="3108960" indent="0">
              <a:buNone/>
              <a:defRPr sz="1360" b="1"/>
            </a:lvl9pPr>
          </a:lstStyle>
          <a:p>
            <a:pPr lvl="0"/>
            <a:r>
              <a:rPr lang="en-US"/>
              <a:t>Click to edit Master text styles</a:t>
            </a:r>
          </a:p>
        </p:txBody>
      </p:sp>
      <p:sp>
        <p:nvSpPr>
          <p:cNvPr id="6" name="Content Placeholder 5"/>
          <p:cNvSpPr>
            <a:spLocks noGrp="1"/>
          </p:cNvSpPr>
          <p:nvPr>
            <p:ph sz="quarter" idx="4"/>
          </p:nvPr>
        </p:nvSpPr>
        <p:spPr>
          <a:xfrm>
            <a:off x="3934778" y="3674110"/>
            <a:ext cx="3304282" cy="54040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smtClean="0"/>
              <a:pPr/>
              <a:t>5/21/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35103185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smtClean="0"/>
              <a:pPr/>
              <a:t>5/21/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3619736825"/>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21/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422887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5365" y="670560"/>
            <a:ext cx="2506801" cy="2346960"/>
          </a:xfrm>
        </p:spPr>
        <p:txBody>
          <a:bodyPr anchor="b"/>
          <a:lstStyle>
            <a:lvl1pPr>
              <a:defRPr sz="2720"/>
            </a:lvl1pPr>
          </a:lstStyle>
          <a:p>
            <a:r>
              <a:rPr lang="en-US"/>
              <a:t>Click to edit Master title style</a:t>
            </a:r>
            <a:endParaRPr lang="en-US" dirty="0"/>
          </a:p>
        </p:txBody>
      </p:sp>
      <p:sp>
        <p:nvSpPr>
          <p:cNvPr id="3" name="Content Placeholder 2"/>
          <p:cNvSpPr>
            <a:spLocks noGrp="1"/>
          </p:cNvSpPr>
          <p:nvPr>
            <p:ph idx="1"/>
          </p:nvPr>
        </p:nvSpPr>
        <p:spPr>
          <a:xfrm>
            <a:off x="3304282" y="1448226"/>
            <a:ext cx="3934778" cy="7147983"/>
          </a:xfrm>
        </p:spPr>
        <p:txBody>
          <a:bodyPr/>
          <a:lstStyle>
            <a:lvl1pPr>
              <a:defRPr sz="2720"/>
            </a:lvl1pPr>
            <a:lvl2pPr>
              <a:defRPr sz="2380"/>
            </a:lvl2pPr>
            <a:lvl3pPr>
              <a:defRPr sz="204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35365" y="3017520"/>
            <a:ext cx="2506801" cy="5590329"/>
          </a:xfrm>
        </p:spPr>
        <p:txBody>
          <a:bodyPr/>
          <a:lstStyle>
            <a:lvl1pPr marL="0" indent="0">
              <a:buNone/>
              <a:defRPr sz="1360"/>
            </a:lvl1pPr>
            <a:lvl2pPr marL="388620" indent="0">
              <a:buNone/>
              <a:defRPr sz="1190"/>
            </a:lvl2pPr>
            <a:lvl3pPr marL="777240" indent="0">
              <a:buNone/>
              <a:defRPr sz="1020"/>
            </a:lvl3pPr>
            <a:lvl4pPr marL="1165860" indent="0">
              <a:buNone/>
              <a:defRPr sz="850"/>
            </a:lvl4pPr>
            <a:lvl5pPr marL="1554480" indent="0">
              <a:buNone/>
              <a:defRPr sz="850"/>
            </a:lvl5pPr>
            <a:lvl6pPr marL="1943100" indent="0">
              <a:buNone/>
              <a:defRPr sz="850"/>
            </a:lvl6pPr>
            <a:lvl7pPr marL="2331720" indent="0">
              <a:buNone/>
              <a:defRPr sz="850"/>
            </a:lvl7pPr>
            <a:lvl8pPr marL="2720340" indent="0">
              <a:buNone/>
              <a:defRPr sz="850"/>
            </a:lvl8pPr>
            <a:lvl9pPr marL="3108960" indent="0">
              <a:buNone/>
              <a:defRPr sz="8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pPr/>
              <a:t>5/21/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59833220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5365" y="670560"/>
            <a:ext cx="2506801" cy="2346960"/>
          </a:xfrm>
        </p:spPr>
        <p:txBody>
          <a:bodyPr anchor="b"/>
          <a:lstStyle>
            <a:lvl1pPr>
              <a:defRPr sz="2720"/>
            </a:lvl1pPr>
          </a:lstStyle>
          <a:p>
            <a:r>
              <a:rPr lang="en-US"/>
              <a:t>Click to edit Master title style</a:t>
            </a:r>
            <a:endParaRPr lang="en-US" dirty="0"/>
          </a:p>
        </p:txBody>
      </p:sp>
      <p:sp>
        <p:nvSpPr>
          <p:cNvPr id="3" name="Picture Placeholder 2"/>
          <p:cNvSpPr>
            <a:spLocks noGrp="1" noChangeAspect="1"/>
          </p:cNvSpPr>
          <p:nvPr>
            <p:ph type="pic" idx="1"/>
          </p:nvPr>
        </p:nvSpPr>
        <p:spPr>
          <a:xfrm>
            <a:off x="3304282" y="1448226"/>
            <a:ext cx="3934778" cy="7147983"/>
          </a:xfrm>
        </p:spPr>
        <p:txBody>
          <a:bodyPr anchor="t"/>
          <a:lstStyle>
            <a:lvl1pPr marL="0" indent="0">
              <a:buNone/>
              <a:defRPr sz="2720"/>
            </a:lvl1pPr>
            <a:lvl2pPr marL="388620" indent="0">
              <a:buNone/>
              <a:defRPr sz="2380"/>
            </a:lvl2pPr>
            <a:lvl3pPr marL="777240" indent="0">
              <a:buNone/>
              <a:defRPr sz="2040"/>
            </a:lvl3pPr>
            <a:lvl4pPr marL="1165860" indent="0">
              <a:buNone/>
              <a:defRPr sz="1700"/>
            </a:lvl4pPr>
            <a:lvl5pPr marL="1554480" indent="0">
              <a:buNone/>
              <a:defRPr sz="1700"/>
            </a:lvl5pPr>
            <a:lvl6pPr marL="1943100" indent="0">
              <a:buNone/>
              <a:defRPr sz="1700"/>
            </a:lvl6pPr>
            <a:lvl7pPr marL="2331720" indent="0">
              <a:buNone/>
              <a:defRPr sz="1700"/>
            </a:lvl7pPr>
            <a:lvl8pPr marL="2720340" indent="0">
              <a:buNone/>
              <a:defRPr sz="1700"/>
            </a:lvl8pPr>
            <a:lvl9pPr marL="3108960" indent="0">
              <a:buNone/>
              <a:defRPr sz="1700"/>
            </a:lvl9pPr>
          </a:lstStyle>
          <a:p>
            <a:r>
              <a:rPr lang="en-US"/>
              <a:t>Click icon to add picture</a:t>
            </a:r>
            <a:endParaRPr lang="en-US" dirty="0"/>
          </a:p>
        </p:txBody>
      </p:sp>
      <p:sp>
        <p:nvSpPr>
          <p:cNvPr id="4" name="Text Placeholder 3"/>
          <p:cNvSpPr>
            <a:spLocks noGrp="1"/>
          </p:cNvSpPr>
          <p:nvPr>
            <p:ph type="body" sz="half" idx="2"/>
          </p:nvPr>
        </p:nvSpPr>
        <p:spPr>
          <a:xfrm>
            <a:off x="535365" y="3017520"/>
            <a:ext cx="2506801" cy="5590329"/>
          </a:xfrm>
        </p:spPr>
        <p:txBody>
          <a:bodyPr/>
          <a:lstStyle>
            <a:lvl1pPr marL="0" indent="0">
              <a:buNone/>
              <a:defRPr sz="1360"/>
            </a:lvl1pPr>
            <a:lvl2pPr marL="388620" indent="0">
              <a:buNone/>
              <a:defRPr sz="1190"/>
            </a:lvl2pPr>
            <a:lvl3pPr marL="777240" indent="0">
              <a:buNone/>
              <a:defRPr sz="1020"/>
            </a:lvl3pPr>
            <a:lvl4pPr marL="1165860" indent="0">
              <a:buNone/>
              <a:defRPr sz="850"/>
            </a:lvl4pPr>
            <a:lvl5pPr marL="1554480" indent="0">
              <a:buNone/>
              <a:defRPr sz="850"/>
            </a:lvl5pPr>
            <a:lvl6pPr marL="1943100" indent="0">
              <a:buNone/>
              <a:defRPr sz="850"/>
            </a:lvl6pPr>
            <a:lvl7pPr marL="2331720" indent="0">
              <a:buNone/>
              <a:defRPr sz="850"/>
            </a:lvl7pPr>
            <a:lvl8pPr marL="2720340" indent="0">
              <a:buNone/>
              <a:defRPr sz="850"/>
            </a:lvl8pPr>
            <a:lvl9pPr marL="3108960" indent="0">
              <a:buNone/>
              <a:defRPr sz="8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pPr/>
              <a:t>5/21/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86985476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9D24616-98EC-7650-F82D-FF567AF130C5}"/>
              </a:ext>
            </a:extLst>
          </p:cNvPr>
          <p:cNvGraphicFramePr>
            <a:graphicFrameLocks noChangeAspect="1"/>
          </p:cNvGraphicFramePr>
          <p:nvPr userDrawn="1">
            <p:custDataLst>
              <p:tags r:id="rId13"/>
            </p:custDataLst>
            <p:extLst>
              <p:ext uri="{D42A27DB-BD31-4B8C-83A1-F6EECF244321}">
                <p14:modId xmlns:p14="http://schemas.microsoft.com/office/powerpoint/2010/main" val="1376812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5" progId="TCLayout.ActiveDocument.1">
                  <p:embed/>
                </p:oleObj>
              </mc:Choice>
              <mc:Fallback>
                <p:oleObj name="think-cell Slide" r:id="rId14" imgW="592" imgH="595"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34353" y="535519"/>
            <a:ext cx="6703695" cy="1944159"/>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34353" y="2677584"/>
            <a:ext cx="6703695" cy="6381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34353" y="9322649"/>
            <a:ext cx="1748790" cy="535517"/>
          </a:xfrm>
          <a:prstGeom prst="rect">
            <a:avLst/>
          </a:prstGeom>
        </p:spPr>
        <p:txBody>
          <a:bodyPr vert="horz" lIns="91440" tIns="45720" rIns="91440" bIns="45720" rtlCol="0" anchor="ctr"/>
          <a:lstStyle>
            <a:lvl1pPr algn="l">
              <a:defRPr sz="1020">
                <a:solidFill>
                  <a:schemeClr val="tx1">
                    <a:tint val="75000"/>
                  </a:schemeClr>
                </a:solidFill>
              </a:defRPr>
            </a:lvl1pPr>
          </a:lstStyle>
          <a:p>
            <a:fld id="{C764DE79-268F-4C1A-8933-263129D2AF90}" type="datetimeFigureOut">
              <a:rPr lang="en-US" smtClean="0"/>
              <a:pPr/>
              <a:t>5/21/2025</a:t>
            </a:fld>
            <a:endParaRPr lang="en-US" dirty="0"/>
          </a:p>
        </p:txBody>
      </p:sp>
      <p:sp>
        <p:nvSpPr>
          <p:cNvPr id="5" name="Footer Placeholder 4"/>
          <p:cNvSpPr>
            <a:spLocks noGrp="1"/>
          </p:cNvSpPr>
          <p:nvPr>
            <p:ph type="ftr" sz="quarter" idx="3"/>
          </p:nvPr>
        </p:nvSpPr>
        <p:spPr>
          <a:xfrm>
            <a:off x="2574608" y="9322649"/>
            <a:ext cx="2623185" cy="535517"/>
          </a:xfrm>
          <a:prstGeom prst="rect">
            <a:avLst/>
          </a:prstGeom>
        </p:spPr>
        <p:txBody>
          <a:bodyPr vert="horz" lIns="91440" tIns="45720" rIns="91440" bIns="45720" rtlCol="0" anchor="ctr"/>
          <a:lstStyle>
            <a:lvl1pPr algn="ctr">
              <a:defRPr sz="102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5489258" y="9322649"/>
            <a:ext cx="1748790" cy="535517"/>
          </a:xfrm>
          <a:prstGeom prst="rect">
            <a:avLst/>
          </a:prstGeom>
        </p:spPr>
        <p:txBody>
          <a:bodyPr vert="horz" lIns="91440" tIns="45720" rIns="91440" bIns="45720" rtlCol="0" anchor="ctr"/>
          <a:lstStyle>
            <a:lvl1pPr algn="r">
              <a:defRPr sz="1020">
                <a:solidFill>
                  <a:schemeClr val="tx1">
                    <a:tint val="75000"/>
                  </a:schemeClr>
                </a:solidFill>
              </a:defRPr>
            </a:lvl1pPr>
          </a:lstStyle>
          <a:p>
            <a:fld id="{48F63A3B-78C7-47BE-AE5E-E10140E04643}" type="slidenum">
              <a:rPr lang="en-US" smtClean="0"/>
              <a:pPr/>
              <a:t>‹#›</a:t>
            </a:fld>
            <a:endParaRPr lang="en-US" dirty="0"/>
          </a:p>
        </p:txBody>
      </p:sp>
      <p:sp>
        <p:nvSpPr>
          <p:cNvPr id="7" name="TextBox 6">
            <a:extLst>
              <a:ext uri="{FF2B5EF4-FFF2-40B4-BE49-F238E27FC236}">
                <a16:creationId xmlns:a16="http://schemas.microsoft.com/office/drawing/2014/main" id="{E1880D17-BA16-224A-83D6-5C0BB6C5A6B6}"/>
              </a:ext>
            </a:extLst>
          </p:cNvPr>
          <p:cNvSpPr txBox="1"/>
          <p:nvPr userDrawn="1"/>
        </p:nvSpPr>
        <p:spPr>
          <a:xfrm>
            <a:off x="7441808" y="9695608"/>
            <a:ext cx="223529" cy="137348"/>
          </a:xfrm>
          <a:prstGeom prst="rect">
            <a:avLst/>
          </a:prstGeom>
          <a:noFill/>
        </p:spPr>
        <p:txBody>
          <a:bodyPr wrap="none" lIns="58296" tIns="29148" rIns="58296" bIns="29148" rtlCol="0" anchor="b">
            <a:spAutoFit/>
          </a:bodyPr>
          <a:lstStyle/>
          <a:p>
            <a:pPr algn="r"/>
            <a:fld id="{260E2A6B-A809-4840-BF14-8648BC0BDF87}" type="slidenum">
              <a:rPr lang="id-ID" sz="510" b="0" i="0" smtClean="0">
                <a:solidFill>
                  <a:schemeClr val="tx1"/>
                </a:solidFill>
                <a:latin typeface="Lato" panose="020F0502020204030203" pitchFamily="34" charset="77"/>
                <a:ea typeface="Verdana" panose="020B0604030504040204" pitchFamily="34" charset="0"/>
                <a:cs typeface="Verdana" panose="020B0604030504040204" pitchFamily="34" charset="0"/>
              </a:rPr>
              <a:pPr algn="r"/>
              <a:t>‹#›</a:t>
            </a:fld>
            <a:r>
              <a:rPr lang="id-ID" sz="510" b="0" i="0" dirty="0">
                <a:solidFill>
                  <a:schemeClr val="tx1"/>
                </a:solidFill>
                <a:latin typeface="Lato" panose="020F0502020204030203" pitchFamily="34" charset="77"/>
                <a:ea typeface="Verdana" panose="020B0604030504040204" pitchFamily="34" charset="0"/>
                <a:cs typeface="Verdana" panose="020B0604030504040204" pitchFamily="34" charset="0"/>
              </a:rPr>
              <a:t>  </a:t>
            </a:r>
          </a:p>
        </p:txBody>
      </p:sp>
      <p:pic>
        <p:nvPicPr>
          <p:cNvPr id="9" name="Picture 8" descr="Shape&#10;&#10;Description automatically generated">
            <a:extLst>
              <a:ext uri="{FF2B5EF4-FFF2-40B4-BE49-F238E27FC236}">
                <a16:creationId xmlns:a16="http://schemas.microsoft.com/office/drawing/2014/main" id="{262C2038-F125-E741-BEAE-201F9A60808D}"/>
              </a:ext>
            </a:extLst>
          </p:cNvPr>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144880" y="9543820"/>
            <a:ext cx="411073" cy="315645"/>
          </a:xfrm>
          <a:prstGeom prst="rect">
            <a:avLst/>
          </a:prstGeom>
        </p:spPr>
      </p:pic>
    </p:spTree>
    <p:extLst>
      <p:ext uri="{BB962C8B-B14F-4D97-AF65-F5344CB8AC3E}">
        <p14:creationId xmlns:p14="http://schemas.microsoft.com/office/powerpoint/2010/main" val="3145295687"/>
      </p:ext>
    </p:extLst>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 id="2147484119" r:id="rId10"/>
    <p:sldLayoutId id="2147484120" r:id="rId11"/>
  </p:sldLayoutIdLst>
  <p:hf hdr="0" ftr="0" dt="0"/>
  <p:txStyles>
    <p:titleStyle>
      <a:lvl1pPr algn="l" defTabSz="777240" rtl="0" eaLnBrk="1" latinLnBrk="0" hangingPunct="1">
        <a:lnSpc>
          <a:spcPct val="90000"/>
        </a:lnSpc>
        <a:spcBef>
          <a:spcPct val="0"/>
        </a:spcBef>
        <a:buNone/>
        <a:defRPr sz="3740" kern="1200">
          <a:solidFill>
            <a:schemeClr val="tx1"/>
          </a:solidFill>
          <a:latin typeface="+mj-lt"/>
          <a:ea typeface="+mj-ea"/>
          <a:cs typeface="+mj-cs"/>
        </a:defRPr>
      </a:lvl1pPr>
    </p:titleStyle>
    <p:bodyStyle>
      <a:lvl1pPr marL="194310" indent="-194310" algn="l" defTabSz="777240" rtl="0" eaLnBrk="1" latinLnBrk="0" hangingPunct="1">
        <a:lnSpc>
          <a:spcPct val="90000"/>
        </a:lnSpc>
        <a:spcBef>
          <a:spcPts val="850"/>
        </a:spcBef>
        <a:buFont typeface="Arial" panose="020B0604020202020204" pitchFamily="34" charset="0"/>
        <a:buChar char="•"/>
        <a:defRPr sz="2380" kern="1200">
          <a:solidFill>
            <a:schemeClr val="tx1"/>
          </a:solidFill>
          <a:latin typeface="+mn-lt"/>
          <a:ea typeface="+mn-ea"/>
          <a:cs typeface="+mn-cs"/>
        </a:defRPr>
      </a:lvl1pPr>
      <a:lvl2pPr marL="582930" indent="-194310" algn="l" defTabSz="777240" rtl="0" eaLnBrk="1" latinLnBrk="0" hangingPunct="1">
        <a:lnSpc>
          <a:spcPct val="90000"/>
        </a:lnSpc>
        <a:spcBef>
          <a:spcPts val="425"/>
        </a:spcBef>
        <a:buFont typeface="Arial" panose="020B0604020202020204" pitchFamily="34" charset="0"/>
        <a:buChar char="•"/>
        <a:defRPr sz="2040" kern="1200">
          <a:solidFill>
            <a:schemeClr val="tx1"/>
          </a:solidFill>
          <a:latin typeface="+mn-lt"/>
          <a:ea typeface="+mn-ea"/>
          <a:cs typeface="+mn-cs"/>
        </a:defRPr>
      </a:lvl2pPr>
      <a:lvl3pPr marL="971550" indent="-194310" algn="l" defTabSz="777240" rtl="0" eaLnBrk="1" latinLnBrk="0" hangingPunct="1">
        <a:lnSpc>
          <a:spcPct val="90000"/>
        </a:lnSpc>
        <a:spcBef>
          <a:spcPts val="425"/>
        </a:spcBef>
        <a:buFont typeface="Arial" panose="020B0604020202020204" pitchFamily="34" charset="0"/>
        <a:buChar char="•"/>
        <a:defRPr sz="1700" kern="1200">
          <a:solidFill>
            <a:schemeClr val="tx1"/>
          </a:solidFill>
          <a:latin typeface="+mn-lt"/>
          <a:ea typeface="+mn-ea"/>
          <a:cs typeface="+mn-cs"/>
        </a:defRPr>
      </a:lvl3pPr>
      <a:lvl4pPr marL="13601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4pPr>
      <a:lvl5pPr marL="174879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p:bodyStyle>
    <p:otherStyle>
      <a:defPPr>
        <a:defRPr lang="en-US"/>
      </a:defPPr>
      <a:lvl1pPr marL="0" algn="l" defTabSz="777240" rtl="0" eaLnBrk="1" latinLnBrk="0" hangingPunct="1">
        <a:defRPr sz="1530" kern="1200">
          <a:solidFill>
            <a:schemeClr val="tx1"/>
          </a:solidFill>
          <a:latin typeface="+mn-lt"/>
          <a:ea typeface="+mn-ea"/>
          <a:cs typeface="+mn-cs"/>
        </a:defRPr>
      </a:lvl1pPr>
      <a:lvl2pPr marL="388620" algn="l" defTabSz="777240" rtl="0" eaLnBrk="1" latinLnBrk="0" hangingPunct="1">
        <a:defRPr sz="1530" kern="1200">
          <a:solidFill>
            <a:schemeClr val="tx1"/>
          </a:solidFill>
          <a:latin typeface="+mn-lt"/>
          <a:ea typeface="+mn-ea"/>
          <a:cs typeface="+mn-cs"/>
        </a:defRPr>
      </a:lvl2pPr>
      <a:lvl3pPr marL="777240" algn="l" defTabSz="777240" rtl="0" eaLnBrk="1" latinLnBrk="0" hangingPunct="1">
        <a:defRPr sz="1530" kern="1200">
          <a:solidFill>
            <a:schemeClr val="tx1"/>
          </a:solidFill>
          <a:latin typeface="+mn-lt"/>
          <a:ea typeface="+mn-ea"/>
          <a:cs typeface="+mn-cs"/>
        </a:defRPr>
      </a:lvl3pPr>
      <a:lvl4pPr marL="1165860" algn="l" defTabSz="777240" rtl="0" eaLnBrk="1" latinLnBrk="0" hangingPunct="1">
        <a:defRPr sz="1530" kern="1200">
          <a:solidFill>
            <a:schemeClr val="tx1"/>
          </a:solidFill>
          <a:latin typeface="+mn-lt"/>
          <a:ea typeface="+mn-ea"/>
          <a:cs typeface="+mn-cs"/>
        </a:defRPr>
      </a:lvl4pPr>
      <a:lvl5pPr marL="1554480" algn="l" defTabSz="777240" rtl="0" eaLnBrk="1" latinLnBrk="0" hangingPunct="1">
        <a:defRPr sz="1530" kern="1200">
          <a:solidFill>
            <a:schemeClr val="tx1"/>
          </a:solidFill>
          <a:latin typeface="+mn-lt"/>
          <a:ea typeface="+mn-ea"/>
          <a:cs typeface="+mn-cs"/>
        </a:defRPr>
      </a:lvl5pPr>
      <a:lvl6pPr marL="1943100" algn="l" defTabSz="777240" rtl="0" eaLnBrk="1" latinLnBrk="0" hangingPunct="1">
        <a:defRPr sz="1530" kern="1200">
          <a:solidFill>
            <a:schemeClr val="tx1"/>
          </a:solidFill>
          <a:latin typeface="+mn-lt"/>
          <a:ea typeface="+mn-ea"/>
          <a:cs typeface="+mn-cs"/>
        </a:defRPr>
      </a:lvl6pPr>
      <a:lvl7pPr marL="2331720" algn="l" defTabSz="777240" rtl="0" eaLnBrk="1" latinLnBrk="0" hangingPunct="1">
        <a:defRPr sz="1530" kern="1200">
          <a:solidFill>
            <a:schemeClr val="tx1"/>
          </a:solidFill>
          <a:latin typeface="+mn-lt"/>
          <a:ea typeface="+mn-ea"/>
          <a:cs typeface="+mn-cs"/>
        </a:defRPr>
      </a:lvl7pPr>
      <a:lvl8pPr marL="2720340" algn="l" defTabSz="777240" rtl="0" eaLnBrk="1" latinLnBrk="0" hangingPunct="1">
        <a:defRPr sz="1530" kern="1200">
          <a:solidFill>
            <a:schemeClr val="tx1"/>
          </a:solidFill>
          <a:latin typeface="+mn-lt"/>
          <a:ea typeface="+mn-ea"/>
          <a:cs typeface="+mn-cs"/>
        </a:defRPr>
      </a:lvl8pPr>
      <a:lvl9pPr marL="3108960" algn="l" defTabSz="777240" rtl="0" eaLnBrk="1" latinLnBrk="0" hangingPunct="1">
        <a:defRPr sz="153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2.bin"/><Relationship Id="rId7" Type="http://schemas.openxmlformats.org/officeDocument/2006/relationships/diagramQuickStyle" Target="../diagrams/quickStyle1.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96C36-664F-1D9A-BE73-779D788FB36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EE0BC94-37F6-EB5B-C198-A1F4BD4438BA}"/>
              </a:ext>
            </a:extLst>
          </p:cNvPr>
          <p:cNvGraphicFramePr>
            <a:graphicFrameLocks noChangeAspect="1"/>
          </p:cNvGraphicFramePr>
          <p:nvPr>
            <p:custDataLst>
              <p:tags r:id="rId1"/>
            </p:custDataLst>
            <p:extLst>
              <p:ext uri="{D42A27DB-BD31-4B8C-83A1-F6EECF244321}">
                <p14:modId xmlns:p14="http://schemas.microsoft.com/office/powerpoint/2010/main" val="3069082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TextBox 55">
            <a:extLst>
              <a:ext uri="{FF2B5EF4-FFF2-40B4-BE49-F238E27FC236}">
                <a16:creationId xmlns:a16="http://schemas.microsoft.com/office/drawing/2014/main" id="{146F960E-4138-4C6B-2630-F2286554FAF4}"/>
              </a:ext>
            </a:extLst>
          </p:cNvPr>
          <p:cNvSpPr txBox="1"/>
          <p:nvPr/>
        </p:nvSpPr>
        <p:spPr>
          <a:xfrm>
            <a:off x="3112410" y="153836"/>
            <a:ext cx="1547604" cy="416140"/>
          </a:xfrm>
          <a:prstGeom prst="rect">
            <a:avLst/>
          </a:prstGeom>
          <a:noFill/>
        </p:spPr>
        <p:txBody>
          <a:bodyPr wrap="none" rtlCol="0">
            <a:spAutoFit/>
          </a:bodyPr>
          <a:lstStyle/>
          <a:p>
            <a:pPr algn="ctr"/>
            <a:r>
              <a:rPr lang="en-US" sz="2104" spc="191">
                <a:solidFill>
                  <a:schemeClr val="tx2"/>
                </a:solidFill>
                <a:latin typeface="Lato" panose="020F0502020204030203" pitchFamily="34" charset="77"/>
                <a:ea typeface="Verdana" panose="020B0604030504040204" pitchFamily="34" charset="0"/>
                <a:cs typeface="Verdana" panose="020B0604030504040204" pitchFamily="34" charset="0"/>
              </a:rPr>
              <a:t>Reno App</a:t>
            </a:r>
            <a:endParaRPr lang="en-US" sz="3061" spc="191" dirty="0">
              <a:solidFill>
                <a:schemeClr val="tx2"/>
              </a:solidFill>
              <a:latin typeface="Lato" panose="020F0502020204030203" pitchFamily="34" charset="77"/>
              <a:ea typeface="Verdana" panose="020B0604030504040204" pitchFamily="34" charset="0"/>
              <a:cs typeface="Verdana" panose="020B0604030504040204" pitchFamily="34" charset="0"/>
            </a:endParaRPr>
          </a:p>
        </p:txBody>
      </p:sp>
      <p:cxnSp>
        <p:nvCxnSpPr>
          <p:cNvPr id="58" name="Straight Connector 57">
            <a:extLst>
              <a:ext uri="{FF2B5EF4-FFF2-40B4-BE49-F238E27FC236}">
                <a16:creationId xmlns:a16="http://schemas.microsoft.com/office/drawing/2014/main" id="{24E6A134-0057-4865-7AEB-7E1EBF01907A}"/>
              </a:ext>
            </a:extLst>
          </p:cNvPr>
          <p:cNvCxnSpPr>
            <a:cxnSpLocks/>
          </p:cNvCxnSpPr>
          <p:nvPr/>
        </p:nvCxnSpPr>
        <p:spPr>
          <a:xfrm>
            <a:off x="2916494" y="640904"/>
            <a:ext cx="1939413" cy="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FB19653-10A0-0DF2-7ABD-C7F80285FECB}"/>
              </a:ext>
            </a:extLst>
          </p:cNvPr>
          <p:cNvSpPr txBox="1"/>
          <p:nvPr/>
        </p:nvSpPr>
        <p:spPr>
          <a:xfrm>
            <a:off x="221926" y="822498"/>
            <a:ext cx="7389487" cy="338554"/>
          </a:xfrm>
          <a:prstGeom prst="rect">
            <a:avLst/>
          </a:prstGeom>
          <a:solidFill>
            <a:srgbClr val="7799CC"/>
          </a:solidFill>
          <a:ln>
            <a:noFill/>
          </a:ln>
        </p:spPr>
        <p:txBody>
          <a:bodyPr wrap="square" rtlCol="0">
            <a:spAutoFit/>
          </a:bodyPr>
          <a:lstStyle/>
          <a:p>
            <a:pPr algn="ctr"/>
            <a:r>
              <a:rPr lang="en-US" sz="1600" b="1" dirty="0">
                <a:solidFill>
                  <a:schemeClr val="bg1"/>
                </a:solidFill>
                <a:latin typeface="Lato" panose="020F0502020204030203" pitchFamily="34" charset="77"/>
                <a:ea typeface="Verdana" panose="020B0604030504040204" pitchFamily="34" charset="0"/>
                <a:cs typeface="Verdana" panose="020B0604030504040204" pitchFamily="34" charset="0"/>
              </a:rPr>
              <a:t>Features</a:t>
            </a:r>
          </a:p>
        </p:txBody>
      </p:sp>
      <p:sp>
        <p:nvSpPr>
          <p:cNvPr id="12" name="TextBox 11">
            <a:extLst>
              <a:ext uri="{FF2B5EF4-FFF2-40B4-BE49-F238E27FC236}">
                <a16:creationId xmlns:a16="http://schemas.microsoft.com/office/drawing/2014/main" id="{16F430E3-E2D3-CD0F-9EA1-227A2CAB43E6}"/>
              </a:ext>
            </a:extLst>
          </p:cNvPr>
          <p:cNvSpPr txBox="1"/>
          <p:nvPr/>
        </p:nvSpPr>
        <p:spPr>
          <a:xfrm>
            <a:off x="247823" y="1216436"/>
            <a:ext cx="7363589" cy="4339650"/>
          </a:xfrm>
          <a:prstGeom prst="rect">
            <a:avLst/>
          </a:prstGeom>
          <a:noFill/>
        </p:spPr>
        <p:txBody>
          <a:bodyPr wrap="square" rtlCol="0">
            <a:spAutoFit/>
          </a:bodyPr>
          <a:lstStyle/>
          <a:p>
            <a:r>
              <a:rPr lang="en-US" sz="1200" b="1" dirty="0">
                <a:solidFill>
                  <a:srgbClr val="003366"/>
                </a:solidFill>
                <a:latin typeface="Lato" panose="020F0502020204030203" pitchFamily="34" charset="77"/>
                <a:ea typeface="Montserrat Light" charset="0"/>
                <a:cs typeface="Montserrat Light" charset="0"/>
              </a:rPr>
              <a:t>Objective</a:t>
            </a:r>
            <a:r>
              <a:rPr lang="en-US" sz="1200" dirty="0">
                <a:solidFill>
                  <a:srgbClr val="003366"/>
                </a:solidFill>
                <a:latin typeface="Lato" panose="020F0502020204030203" pitchFamily="34" charset="77"/>
                <a:ea typeface="Montserrat Light" charset="0"/>
                <a:cs typeface="Montserrat Light" charset="0"/>
              </a:rPr>
              <a:t> – Build a tool for professionals to use when they renovate houses. This will help them manage the renovation budget, organize the quoting process, and ease the logistical burden of meeting subcontractors at the property constantly.</a:t>
            </a:r>
          </a:p>
          <a:p>
            <a:endParaRPr lang="en-US" sz="1200" dirty="0">
              <a:solidFill>
                <a:srgbClr val="003366"/>
              </a:solidFill>
              <a:latin typeface="Lato" panose="020F0502020204030203" pitchFamily="34" charset="77"/>
              <a:ea typeface="Montserrat Light" charset="0"/>
              <a:cs typeface="Montserrat Light" charset="0"/>
            </a:endParaRPr>
          </a:p>
          <a:p>
            <a:endParaRPr lang="en-US" sz="1200" dirty="0">
              <a:solidFill>
                <a:srgbClr val="003366"/>
              </a:solidFill>
              <a:latin typeface="Lato" panose="020F0502020204030203" pitchFamily="34" charset="77"/>
              <a:ea typeface="Montserrat Light" charset="0"/>
              <a:cs typeface="Montserrat Light" charset="0"/>
            </a:endParaRPr>
          </a:p>
          <a:p>
            <a:r>
              <a:rPr lang="en-US" sz="1200" b="1" dirty="0">
                <a:solidFill>
                  <a:srgbClr val="003366"/>
                </a:solidFill>
                <a:latin typeface="Lato" panose="020F0502020204030203" pitchFamily="34" charset="77"/>
                <a:ea typeface="Montserrat Light" charset="0"/>
                <a:cs typeface="Montserrat Light" charset="0"/>
              </a:rPr>
              <a:t>Premium features:</a:t>
            </a:r>
          </a:p>
          <a:p>
            <a:endParaRPr lang="en-US" sz="1200" b="1" dirty="0">
              <a:solidFill>
                <a:srgbClr val="003366"/>
              </a:solidFill>
              <a:latin typeface="Lato" panose="020F0502020204030203" pitchFamily="34" charset="77"/>
              <a:ea typeface="Montserrat Light" charset="0"/>
              <a:cs typeface="Montserrat Light" charset="0"/>
            </a:endParaRPr>
          </a:p>
          <a:p>
            <a:pPr marL="228600" indent="-228600">
              <a:buFont typeface="+mj-lt"/>
              <a:buAutoNum type="arabicPeriod"/>
            </a:pPr>
            <a:r>
              <a:rPr lang="en-US" sz="1200" dirty="0">
                <a:solidFill>
                  <a:srgbClr val="003366"/>
                </a:solidFill>
                <a:latin typeface="Lato" panose="020F0502020204030203" pitchFamily="34" charset="77"/>
                <a:ea typeface="Montserrat Light" charset="0"/>
                <a:cs typeface="Montserrat Light" charset="0"/>
              </a:rPr>
              <a:t>Compile and organize subcontractor quotes</a:t>
            </a:r>
          </a:p>
          <a:p>
            <a:pPr marL="628650" lvl="1" indent="-171450">
              <a:buFont typeface="Arial" panose="020B0604020202020204" pitchFamily="34" charset="0"/>
              <a:buChar char="•"/>
            </a:pPr>
            <a:r>
              <a:rPr lang="en-US" sz="1200" dirty="0">
                <a:solidFill>
                  <a:srgbClr val="003366"/>
                </a:solidFill>
                <a:latin typeface="Lato" panose="020F0502020204030203" pitchFamily="34" charset="77"/>
                <a:ea typeface="Montserrat Light" charset="0"/>
                <a:cs typeface="Montserrat Light" charset="0"/>
              </a:rPr>
              <a:t>Use SMS text links that can be sent to subcontractors. The link would provide </a:t>
            </a:r>
            <a:r>
              <a:rPr lang="en-US" sz="1200" dirty="0" err="1">
                <a:solidFill>
                  <a:srgbClr val="003366"/>
                </a:solidFill>
                <a:latin typeface="Lato" panose="020F0502020204030203" pitchFamily="34" charset="77"/>
                <a:ea typeface="Montserrat Light" charset="0"/>
                <a:cs typeface="Montserrat Light" charset="0"/>
              </a:rPr>
              <a:t>workscope</a:t>
            </a:r>
            <a:r>
              <a:rPr lang="en-US" sz="1200" dirty="0">
                <a:solidFill>
                  <a:srgbClr val="003366"/>
                </a:solidFill>
                <a:latin typeface="Lato" panose="020F0502020204030203" pitchFamily="34" charset="77"/>
                <a:ea typeface="Montserrat Light" charset="0"/>
                <a:cs typeface="Montserrat Light" charset="0"/>
              </a:rPr>
              <a:t> and details of the job that they are quoting with itemized pieces of the job. </a:t>
            </a:r>
          </a:p>
          <a:p>
            <a:pPr marL="628650" lvl="1" indent="-171450">
              <a:buFont typeface="Arial" panose="020B0604020202020204" pitchFamily="34" charset="0"/>
              <a:buChar char="•"/>
            </a:pPr>
            <a:r>
              <a:rPr lang="en-US" sz="1200" dirty="0">
                <a:solidFill>
                  <a:srgbClr val="003366"/>
                </a:solidFill>
                <a:latin typeface="Lato" panose="020F0502020204030203" pitchFamily="34" charset="77"/>
                <a:ea typeface="Montserrat Light" charset="0"/>
                <a:cs typeface="Montserrat Light" charset="0"/>
              </a:rPr>
              <a:t>The subcontractor would submit quotes via the link which would automatically pull into the app</a:t>
            </a:r>
          </a:p>
          <a:p>
            <a:pPr marL="628650" lvl="1" indent="-171450">
              <a:buFont typeface="Arial" panose="020B0604020202020204" pitchFamily="34" charset="0"/>
              <a:buChar char="•"/>
            </a:pPr>
            <a:endParaRPr lang="en-US" sz="1200" dirty="0">
              <a:solidFill>
                <a:srgbClr val="003366"/>
              </a:solidFill>
              <a:latin typeface="Lato" panose="020F0502020204030203" pitchFamily="34" charset="77"/>
              <a:ea typeface="Montserrat Light" charset="0"/>
              <a:cs typeface="Montserrat Light" charset="0"/>
            </a:endParaRPr>
          </a:p>
          <a:p>
            <a:pPr marL="228600" indent="-228600">
              <a:buFont typeface="+mj-lt"/>
              <a:buAutoNum type="arabicPeriod"/>
            </a:pPr>
            <a:r>
              <a:rPr lang="en-US" sz="1200" dirty="0">
                <a:solidFill>
                  <a:srgbClr val="003366"/>
                </a:solidFill>
                <a:latin typeface="Lato" panose="020F0502020204030203" pitchFamily="34" charset="77"/>
                <a:ea typeface="Montserrat Light" charset="0"/>
                <a:cs typeface="Montserrat Light" charset="0"/>
              </a:rPr>
              <a:t>Enable the user to grant access to the property via a Bluetooth enabled lockbox</a:t>
            </a:r>
          </a:p>
          <a:p>
            <a:pPr marL="685800" lvl="1" indent="-228600">
              <a:buFont typeface="Arial" panose="020B0604020202020204" pitchFamily="34" charset="0"/>
              <a:buChar char="•"/>
            </a:pPr>
            <a:r>
              <a:rPr lang="en-US" sz="1200" dirty="0">
                <a:solidFill>
                  <a:srgbClr val="003366"/>
                </a:solidFill>
                <a:latin typeface="Lato" panose="020F0502020204030203" pitchFamily="34" charset="77"/>
                <a:ea typeface="Montserrat Light" charset="0"/>
                <a:cs typeface="Montserrat Light" charset="0"/>
              </a:rPr>
              <a:t>Similar to what realtors use, I want to give the user the ability grant the subcontractors access to unlock the lockbox during certain time windows so that they can walk the property for quoting and working on the property.</a:t>
            </a:r>
          </a:p>
          <a:p>
            <a:endParaRPr lang="en-US" sz="1200" dirty="0">
              <a:solidFill>
                <a:srgbClr val="003366"/>
              </a:solidFill>
              <a:latin typeface="Lato" panose="020F0502020204030203" pitchFamily="34" charset="77"/>
              <a:ea typeface="Montserrat Light" charset="0"/>
              <a:cs typeface="Montserrat Light" charset="0"/>
            </a:endParaRPr>
          </a:p>
          <a:p>
            <a:endParaRPr lang="en-US" sz="1200" dirty="0">
              <a:solidFill>
                <a:srgbClr val="003366"/>
              </a:solidFill>
              <a:latin typeface="Lato" panose="020F0502020204030203" pitchFamily="34" charset="77"/>
              <a:ea typeface="Montserrat Light" charset="0"/>
              <a:cs typeface="Montserrat Light" charset="0"/>
            </a:endParaRPr>
          </a:p>
          <a:p>
            <a:endParaRPr lang="en-US" sz="1200" dirty="0">
              <a:solidFill>
                <a:srgbClr val="003366"/>
              </a:solidFill>
              <a:latin typeface="Lato" panose="020F0502020204030203" pitchFamily="34" charset="77"/>
              <a:ea typeface="Montserrat Light" charset="0"/>
              <a:cs typeface="Montserrat Light" charset="0"/>
            </a:endParaRPr>
          </a:p>
          <a:p>
            <a:r>
              <a:rPr lang="en-US" sz="1200" b="1" dirty="0">
                <a:solidFill>
                  <a:srgbClr val="003366"/>
                </a:solidFill>
                <a:latin typeface="Lato" panose="020F0502020204030203" pitchFamily="34" charset="77"/>
                <a:ea typeface="Montserrat Light" charset="0"/>
                <a:cs typeface="Montserrat Light" charset="0"/>
              </a:rPr>
              <a:t>Basic features:</a:t>
            </a:r>
          </a:p>
          <a:p>
            <a:endParaRPr lang="en-US" sz="1200" b="1" dirty="0">
              <a:solidFill>
                <a:srgbClr val="003366"/>
              </a:solidFill>
              <a:latin typeface="Lato" panose="020F0502020204030203" pitchFamily="34" charset="77"/>
              <a:ea typeface="Montserrat Light" charset="0"/>
              <a:cs typeface="Montserrat Light" charset="0"/>
            </a:endParaRPr>
          </a:p>
          <a:p>
            <a:pPr marL="228600" indent="-228600">
              <a:buFont typeface="+mj-lt"/>
              <a:buAutoNum type="arabicPeriod"/>
            </a:pPr>
            <a:r>
              <a:rPr lang="en-US" sz="1200" dirty="0">
                <a:solidFill>
                  <a:srgbClr val="003366"/>
                </a:solidFill>
                <a:latin typeface="Lato" panose="020F0502020204030203" pitchFamily="34" charset="77"/>
                <a:ea typeface="Montserrat Light" charset="0"/>
                <a:cs typeface="Montserrat Light" charset="0"/>
              </a:rPr>
              <a:t>Project </a:t>
            </a:r>
            <a:r>
              <a:rPr lang="en-US" sz="1200" dirty="0" err="1">
                <a:solidFill>
                  <a:srgbClr val="003366"/>
                </a:solidFill>
                <a:latin typeface="Lato" panose="020F0502020204030203" pitchFamily="34" charset="77"/>
                <a:ea typeface="Montserrat Light" charset="0"/>
                <a:cs typeface="Montserrat Light" charset="0"/>
              </a:rPr>
              <a:t>workscope</a:t>
            </a:r>
            <a:r>
              <a:rPr lang="en-US" sz="1200" dirty="0">
                <a:solidFill>
                  <a:srgbClr val="003366"/>
                </a:solidFill>
                <a:latin typeface="Lato" panose="020F0502020204030203" pitchFamily="34" charset="77"/>
                <a:ea typeface="Montserrat Light" charset="0"/>
                <a:cs typeface="Montserrat Light" charset="0"/>
              </a:rPr>
              <a:t> with budget and timeline</a:t>
            </a:r>
          </a:p>
          <a:p>
            <a:pPr marL="228600" indent="-228600">
              <a:buFont typeface="+mj-lt"/>
              <a:buAutoNum type="arabicPeriod"/>
            </a:pPr>
            <a:r>
              <a:rPr lang="en-US" sz="1200" dirty="0">
                <a:solidFill>
                  <a:srgbClr val="003366"/>
                </a:solidFill>
                <a:latin typeface="Lato" panose="020F0502020204030203" pitchFamily="34" charset="77"/>
                <a:ea typeface="Montserrat Light" charset="0"/>
                <a:cs typeface="Montserrat Light" charset="0"/>
              </a:rPr>
              <a:t>Contacts – Subcontractors with contact info</a:t>
            </a:r>
          </a:p>
        </p:txBody>
      </p:sp>
      <p:graphicFrame>
        <p:nvGraphicFramePr>
          <p:cNvPr id="2" name="Diagram 1">
            <a:extLst>
              <a:ext uri="{FF2B5EF4-FFF2-40B4-BE49-F238E27FC236}">
                <a16:creationId xmlns:a16="http://schemas.microsoft.com/office/drawing/2014/main" id="{30265CB7-BE90-F27F-BB2F-ADBAD611FC5D}"/>
              </a:ext>
            </a:extLst>
          </p:cNvPr>
          <p:cNvGraphicFramePr/>
          <p:nvPr>
            <p:extLst>
              <p:ext uri="{D42A27DB-BD31-4B8C-83A1-F6EECF244321}">
                <p14:modId xmlns:p14="http://schemas.microsoft.com/office/powerpoint/2010/main" val="708761867"/>
              </p:ext>
            </p:extLst>
          </p:nvPr>
        </p:nvGraphicFramePr>
        <p:xfrm>
          <a:off x="728193" y="5143501"/>
          <a:ext cx="6316013" cy="491489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135431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lta_PowerPoint_Template_Vertical" id="{AE335BA2-7261-8747-8E1B-84C50EB4A832}" vid="{47443803-C7C5-7B46-9D87-F058E480935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ade375b0-ba77-4fd2-b64f-2d655a0ee095" xsi:nil="true"/>
    <TaxKeywordTaxHTField xmlns="ade375b0-ba77-4fd2-b64f-2d655a0ee095">
      <Terms xmlns="http://schemas.microsoft.com/office/infopath/2007/PartnerControls"/>
    </TaxKeywordTaxHTField>
    <b60cf74920394378a93210bfc7597c83 xmlns="ade375b0-ba77-4fd2-b64f-2d655a0ee095">
      <Terms xmlns="http://schemas.microsoft.com/office/infopath/2007/PartnerControls"/>
    </b60cf74920394378a93210bfc7597c83>
    <d875353c64984ef1bbf050357d4ed955 xmlns="ade375b0-ba77-4fd2-b64f-2d655a0ee095">
      <Terms xmlns="http://schemas.microsoft.com/office/infopath/2007/PartnerControls"/>
    </d875353c64984ef1bbf050357d4ed955>
    <PublishDate xmlns="ade375b0-ba77-4fd2-b64f-2d655a0ee095" xsi:nil="true"/>
    <deltanetPublishToAlumni xmlns="ade375b0-ba77-4fd2-b64f-2d655a0ee095" xsi:nil="true"/>
    <f95933cfb9c34d8e8a2ca3bb9ba7e8c2 xmlns="ade375b0-ba77-4fd2-b64f-2d655a0ee095">
      <Terms xmlns="http://schemas.microsoft.com/office/infopath/2007/PartnerControls"/>
    </f95933cfb9c34d8e8a2ca3bb9ba7e8c2>
    <a4409b95580e4739857c5c2d4c3d7d87 xmlns="ade375b0-ba77-4fd2-b64f-2d655a0ee095">
      <Terms xmlns="http://schemas.microsoft.com/office/infopath/2007/PartnerControls"/>
    </a4409b95580e4739857c5c2d4c3d7d87>
    <Area xmlns="30f5df00-70f9-4335-a220-1605aeee8fea">
      <Value>Templates</Value>
    </Area>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6D6EE1D31A4164EB58567D1727627C4" ma:contentTypeVersion="18" ma:contentTypeDescription="Create a new document." ma:contentTypeScope="" ma:versionID="ee9a4ce2b0a0418af12f06bb170373ce">
  <xsd:schema xmlns:xsd="http://www.w3.org/2001/XMLSchema" xmlns:xs="http://www.w3.org/2001/XMLSchema" xmlns:p="http://schemas.microsoft.com/office/2006/metadata/properties" xmlns:ns2="ade375b0-ba77-4fd2-b64f-2d655a0ee095" xmlns:ns3="30f5df00-70f9-4335-a220-1605aeee8fea" targetNamespace="http://schemas.microsoft.com/office/2006/metadata/properties" ma:root="true" ma:fieldsID="2c718fdd6df840fc7677914b281058f2" ns2:_="" ns3:_="">
    <xsd:import namespace="ade375b0-ba77-4fd2-b64f-2d655a0ee095"/>
    <xsd:import namespace="30f5df00-70f9-4335-a220-1605aeee8fea"/>
    <xsd:element name="properties">
      <xsd:complexType>
        <xsd:sequence>
          <xsd:element name="documentManagement">
            <xsd:complexType>
              <xsd:all>
                <xsd:element ref="ns2:f95933cfb9c34d8e8a2ca3bb9ba7e8c2" minOccurs="0"/>
                <xsd:element ref="ns2:TaxCatchAll" minOccurs="0"/>
                <xsd:element ref="ns2:b60cf74920394378a93210bfc7597c83" minOccurs="0"/>
                <xsd:element ref="ns2:d875353c64984ef1bbf050357d4ed955" minOccurs="0"/>
                <xsd:element ref="ns2:a4409b95580e4739857c5c2d4c3d7d87" minOccurs="0"/>
                <xsd:element ref="ns2:PublishDate" minOccurs="0"/>
                <xsd:element ref="ns2:deltanetPublishToAlumni" minOccurs="0"/>
                <xsd:element ref="ns2:TaxKeywordTaxHTField" minOccurs="0"/>
                <xsd:element ref="ns3:MediaServiceMetadata" minOccurs="0"/>
                <xsd:element ref="ns3:MediaServiceFastMetadata" minOccurs="0"/>
                <xsd:element ref="ns3:MediaServiceSearchProperties" minOccurs="0"/>
                <xsd:element ref="ns3:MediaServiceObjectDetectorVersions" minOccurs="0"/>
                <xsd:element ref="ns3:Are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e375b0-ba77-4fd2-b64f-2d655a0ee095" elementFormDefault="qualified">
    <xsd:import namespace="http://schemas.microsoft.com/office/2006/documentManagement/types"/>
    <xsd:import namespace="http://schemas.microsoft.com/office/infopath/2007/PartnerControls"/>
    <xsd:element name="f95933cfb9c34d8e8a2ca3bb9ba7e8c2" ma:index="9" nillable="true" ma:taxonomy="true" ma:internalName="f95933cfb9c34d8e8a2ca3bb9ba7e8c2" ma:taxonomyFieldName="Organization" ma:displayName="Organization" ma:fieldId="{f95933cf-b9c3-4d8e-8a2c-a3bb9ba7e8c2}" ma:sspId="5deb0bbe-b72b-4892-9917-9d2a42dd6745" ma:termSetId="1ec15c10-eea3-4412-98bf-fa9de272556f"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252f646a-3219-4c43-b560-6b09bf1066b0}" ma:internalName="TaxCatchAll" ma:showField="CatchAllData" ma:web="ade375b0-ba77-4fd2-b64f-2d655a0ee095">
      <xsd:complexType>
        <xsd:complexContent>
          <xsd:extension base="dms:MultiChoiceLookup">
            <xsd:sequence>
              <xsd:element name="Value" type="dms:Lookup" maxOccurs="unbounded" minOccurs="0" nillable="true"/>
            </xsd:sequence>
          </xsd:extension>
        </xsd:complexContent>
      </xsd:complexType>
    </xsd:element>
    <xsd:element name="b60cf74920394378a93210bfc7597c83" ma:index="12" nillable="true" ma:taxonomy="true" ma:internalName="b60cf74920394378a93210bfc7597c83" ma:taxonomyFieldName="Fleet" ma:displayName="Fleet" ma:fieldId="{b60cf749-2039-4378-a932-10bfc7597c83}" ma:taxonomyMulti="true" ma:sspId="5deb0bbe-b72b-4892-9917-9d2a42dd6745" ma:termSetId="b30b7d86-6ef6-447e-a65e-36c3e1cea4ed" ma:anchorId="00000000-0000-0000-0000-000000000000" ma:open="false" ma:isKeyword="false">
      <xsd:complexType>
        <xsd:sequence>
          <xsd:element ref="pc:Terms" minOccurs="0" maxOccurs="1"/>
        </xsd:sequence>
      </xsd:complexType>
    </xsd:element>
    <xsd:element name="d875353c64984ef1bbf050357d4ed955" ma:index="14" nillable="true" ma:taxonomy="true" ma:internalName="d875353c64984ef1bbf050357d4ed955" ma:taxonomyFieldName="Locations" ma:displayName="Locations" ma:fieldId="{d875353c-6498-4ef1-bbf0-50357d4ed955}" ma:sspId="5deb0bbe-b72b-4892-9917-9d2a42dd6745" ma:termSetId="6a1e8f4a-8ad3-40a0-9231-f5ec2e7c2492" ma:anchorId="00000000-0000-0000-0000-000000000000" ma:open="false" ma:isKeyword="false">
      <xsd:complexType>
        <xsd:sequence>
          <xsd:element ref="pc:Terms" minOccurs="0" maxOccurs="1"/>
        </xsd:sequence>
      </xsd:complexType>
    </xsd:element>
    <xsd:element name="a4409b95580e4739857c5c2d4c3d7d87" ma:index="16" nillable="true" ma:taxonomy="true" ma:internalName="a4409b95580e4739857c5c2d4c3d7d87" ma:taxonomyFieldName="GeneralTopics" ma:displayName="General Topics" ma:fieldId="{a4409b95-580e-4739-857c-5c2d4c3d7d87}" ma:taxonomyMulti="true" ma:sspId="5deb0bbe-b72b-4892-9917-9d2a42dd6745" ma:termSetId="dce998eb-b814-4879-8a5f-237e2b4c52e5" ma:anchorId="00000000-0000-0000-0000-000000000000" ma:open="false" ma:isKeyword="false">
      <xsd:complexType>
        <xsd:sequence>
          <xsd:element ref="pc:Terms" minOccurs="0" maxOccurs="1"/>
        </xsd:sequence>
      </xsd:complexType>
    </xsd:element>
    <xsd:element name="PublishDate" ma:index="17" nillable="true" ma:displayName="PublishedDate" ma:internalName="PublishDate">
      <xsd:simpleType>
        <xsd:restriction base="dms:DateTime"/>
      </xsd:simpleType>
    </xsd:element>
    <xsd:element name="deltanetPublishToAlumni" ma:index="18" nillable="true" ma:displayName="PublishToAlumniSite" ma:internalName="deltanetPublishToAlumni">
      <xsd:simpleType>
        <xsd:restriction base="dms:Boolean"/>
      </xsd:simpleType>
    </xsd:element>
    <xsd:element name="TaxKeywordTaxHTField" ma:index="20" nillable="true" ma:taxonomy="true" ma:internalName="TaxKeywordTaxHTField" ma:taxonomyFieldName="TaxKeyword" ma:displayName="Enterprise Keywords" ma:fieldId="{23f27201-bee3-471e-b2e7-b64fd8b7ca38}" ma:taxonomyMulti="true" ma:sspId="5deb0bbe-b72b-4892-9917-9d2a42dd6745"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0f5df00-70f9-4335-a220-1605aeee8fea" elementFormDefault="qualified">
    <xsd:import namespace="http://schemas.microsoft.com/office/2006/documentManagement/types"/>
    <xsd:import namespace="http://schemas.microsoft.com/office/infopath/2007/PartnerControls"/>
    <xsd:element name="MediaServiceMetadata" ma:index="21" nillable="true" ma:displayName="MediaServiceMetadata" ma:hidden="true" ma:internalName="MediaServiceMetadata" ma:readOnly="true">
      <xsd:simpleType>
        <xsd:restriction base="dms:Note"/>
      </xsd:simpleType>
    </xsd:element>
    <xsd:element name="MediaServiceFastMetadata" ma:index="22" nillable="true" ma:displayName="MediaServiceFastMetadata" ma:hidden="true" ma:internalName="MediaServiceFastMetadata" ma:readOnly="true">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Area" ma:index="25" nillable="true" ma:displayName="Area" ma:format="Dropdown" ma:internalName="Area">
      <xsd:complexType>
        <xsd:complexContent>
          <xsd:extension base="dms:MultiChoice">
            <xsd:sequence>
              <xsd:element name="Value" maxOccurs="unbounded" minOccurs="0" nillable="true">
                <xsd:simpleType>
                  <xsd:restriction base="dms:Choice">
                    <xsd:enumeration value="Sky Priority"/>
                    <xsd:enumeration value="Delta Economy"/>
                    <xsd:enumeration value="At The Airport"/>
                    <xsd:enumeration value="Templates"/>
                    <xsd:enumeration value="Files"/>
                    <xsd:enumeration value="Guidelines"/>
                    <xsd:enumeration value="Partners"/>
                    <xsd:enumeration value="Voice"/>
                  </xsd:restriction>
                </xsd:simple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066FFF0-AF97-4B10-9D93-245787CAEC90}">
  <ds:schemaRefs>
    <ds:schemaRef ds:uri="http://schemas.microsoft.com/sharepoint/v3/contenttype/forms"/>
  </ds:schemaRefs>
</ds:datastoreItem>
</file>

<file path=customXml/itemProps2.xml><?xml version="1.0" encoding="utf-8"?>
<ds:datastoreItem xmlns:ds="http://schemas.openxmlformats.org/officeDocument/2006/customXml" ds:itemID="{22F211DC-2F3F-4670-9C05-1F0A7B6E486E}">
  <ds:schemaRefs>
    <ds:schemaRef ds:uri="http://schemas.microsoft.com/office/2006/metadata/properties"/>
    <ds:schemaRef ds:uri="http://schemas.microsoft.com/office/infopath/2007/PartnerControls"/>
    <ds:schemaRef ds:uri="ade375b0-ba77-4fd2-b64f-2d655a0ee095"/>
    <ds:schemaRef ds:uri="30f5df00-70f9-4335-a220-1605aeee8fea"/>
  </ds:schemaRefs>
</ds:datastoreItem>
</file>

<file path=customXml/itemProps3.xml><?xml version="1.0" encoding="utf-8"?>
<ds:datastoreItem xmlns:ds="http://schemas.openxmlformats.org/officeDocument/2006/customXml" ds:itemID="{2F74C1D5-9484-4D4E-9A90-FC37221833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e375b0-ba77-4fd2-b64f-2d655a0ee095"/>
    <ds:schemaRef ds:uri="30f5df00-70f9-4335-a220-1605aeee8f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ta_PowerPoint_Template_Vertical</Template>
  <TotalTime>109</TotalTime>
  <Words>199</Words>
  <Application>Microsoft Office PowerPoint</Application>
  <PresentationFormat>Custom</PresentationFormat>
  <Paragraphs>33</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Calibri Light</vt:lpstr>
      <vt:lpstr>Lato</vt:lpstr>
      <vt:lpstr>Default Theme</vt:lpstr>
      <vt:lpstr>think-cell Slid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Miller, Johnny</dc:creator>
  <cp:keywords/>
  <dc:description/>
  <cp:lastModifiedBy>Miller, Johnny</cp:lastModifiedBy>
  <cp:revision>3</cp:revision>
  <dcterms:created xsi:type="dcterms:W3CDTF">2025-05-16T16:37:14Z</dcterms:created>
  <dcterms:modified xsi:type="dcterms:W3CDTF">2025-05-21T15:59:5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D6EE1D31A4164EB58567D1727627C4</vt:lpwstr>
  </property>
  <property fmtid="{D5CDD505-2E9C-101B-9397-08002B2CF9AE}" pid="3" name="_dlc_DocIdItemGuid">
    <vt:lpwstr>ffe9fad5-54a5-4a03-98f1-27147619ff29</vt:lpwstr>
  </property>
  <property fmtid="{D5CDD505-2E9C-101B-9397-08002B2CF9AE}" pid="4" name="TaxKeyword">
    <vt:lpwstr/>
  </property>
  <property fmtid="{D5CDD505-2E9C-101B-9397-08002B2CF9AE}" pid="5" name="deltanetTxmFleet">
    <vt:lpwstr/>
  </property>
  <property fmtid="{D5CDD505-2E9C-101B-9397-08002B2CF9AE}" pid="6" name="deltanetTxmCareerBenefits">
    <vt:lpwstr/>
  </property>
  <property fmtid="{D5CDD505-2E9C-101B-9397-08002B2CF9AE}" pid="7" name="deltanetTxmOperations">
    <vt:lpwstr/>
  </property>
  <property fmtid="{D5CDD505-2E9C-101B-9397-08002B2CF9AE}" pid="8" name="deltanetTxmCatchAll">
    <vt:lpwstr/>
  </property>
  <property fmtid="{D5CDD505-2E9C-101B-9397-08002B2CF9AE}" pid="9" name="deltanetTxmLocation">
    <vt:lpwstr/>
  </property>
  <property fmtid="{D5CDD505-2E9C-101B-9397-08002B2CF9AE}" pid="10" name="deltanetTxmCustomerService">
    <vt:lpwstr/>
  </property>
  <property fmtid="{D5CDD505-2E9C-101B-9397-08002B2CF9AE}" pid="11" name="deltanetTxmDivision">
    <vt:lpwstr/>
  </property>
  <property fmtid="{D5CDD505-2E9C-101B-9397-08002B2CF9AE}" pid="12" name="Fleet">
    <vt:lpwstr/>
  </property>
  <property fmtid="{D5CDD505-2E9C-101B-9397-08002B2CF9AE}" pid="13" name="GeneralTopics">
    <vt:lpwstr/>
  </property>
  <property fmtid="{D5CDD505-2E9C-101B-9397-08002B2CF9AE}" pid="14" name="Organization">
    <vt:lpwstr/>
  </property>
  <property fmtid="{D5CDD505-2E9C-101B-9397-08002B2CF9AE}" pid="15" name="Locations">
    <vt:lpwstr/>
  </property>
</Properties>
</file>